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media/image1.bin" ContentType="image/x-emf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media/image4.bin" ContentType="image/x-emf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media/image10.bin" ContentType="image/x-emf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heme/theme2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charts/chart1.xml" ContentType="application/vnd.openxmlformats-officedocument.drawingml.chart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handoutMasterIdLst>
    <p:handoutMasterId r:id="rId15"/>
  </p:handoutMasterIdLst>
  <p:sldIdLst>
    <p:sldId id="256" r:id="rId2"/>
    <p:sldId id="313" r:id="rId3"/>
    <p:sldId id="308" r:id="rId4"/>
    <p:sldId id="261" r:id="rId5"/>
    <p:sldId id="258" r:id="rId6"/>
    <p:sldId id="318" r:id="rId7"/>
    <p:sldId id="319" r:id="rId8"/>
    <p:sldId id="312" r:id="rId9"/>
    <p:sldId id="315" r:id="rId10"/>
    <p:sldId id="316" r:id="rId11"/>
    <p:sldId id="314" r:id="rId12"/>
    <p:sldId id="317" r:id="rId13"/>
    <p:sldId id="259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1303"/>
    <a:srgbClr val="FFFFFF"/>
    <a:srgbClr val="70AD47"/>
    <a:srgbClr val="997B7F"/>
    <a:srgbClr val="D2691E"/>
    <a:srgbClr val="F9F2EF"/>
    <a:srgbClr val="B46547"/>
    <a:srgbClr val="2F1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F8D65A-5E1C-4DB4-9A98-2BFC7FDF1C49}" v="2647" dt="2026-01-22T23:50:46.1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9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4" d="100"/>
          <a:sy n="84" d="100"/>
        </p:scale>
        <p:origin x="391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nda Lier" userId="c5892826d897d3cd" providerId="LiveId" clId="{7068258B-AE26-41AE-BE70-95AF9FB41401}"/>
    <pc:docChg chg="undo redo custSel addSld delSld modSld sldOrd delMainMaster modMainMaster modHandout">
      <pc:chgData name="Linda Lier" userId="c5892826d897d3cd" providerId="LiveId" clId="{7068258B-AE26-41AE-BE70-95AF9FB41401}" dt="2026-01-22T23:50:46.118" v="4941"/>
      <pc:docMkLst>
        <pc:docMk/>
      </pc:docMkLst>
      <pc:sldChg chg="addSp delSp modSp mod">
        <pc:chgData name="Linda Lier" userId="c5892826d897d3cd" providerId="LiveId" clId="{7068258B-AE26-41AE-BE70-95AF9FB41401}" dt="2026-01-22T23:40:07.391" v="4247"/>
        <pc:sldMkLst>
          <pc:docMk/>
          <pc:sldMk cId="590752481" sldId="256"/>
        </pc:sldMkLst>
        <pc:spChg chg="mod">
          <ac:chgData name="Linda Lier" userId="c5892826d897d3cd" providerId="LiveId" clId="{7068258B-AE26-41AE-BE70-95AF9FB41401}" dt="2026-01-22T23:40:07.391" v="4247"/>
          <ac:spMkLst>
            <pc:docMk/>
            <pc:sldMk cId="590752481" sldId="256"/>
            <ac:spMk id="5" creationId="{2A1F7AAE-38D9-B16D-25BE-4EAABF24DED6}"/>
          </ac:spMkLst>
        </pc:spChg>
        <pc:spChg chg="add mod">
          <ac:chgData name="Linda Lier" userId="c5892826d897d3cd" providerId="LiveId" clId="{7068258B-AE26-41AE-BE70-95AF9FB41401}" dt="2026-01-22T23:15:54.919" v="871" actId="1036"/>
          <ac:spMkLst>
            <pc:docMk/>
            <pc:sldMk cId="590752481" sldId="256"/>
            <ac:spMk id="8" creationId="{D317C1F7-F720-7C0D-8CE4-271D938D7293}"/>
          </ac:spMkLst>
        </pc:spChg>
        <pc:graphicFrameChg chg="mod">
          <ac:chgData name="Linda Lier" userId="c5892826d897d3cd" providerId="LiveId" clId="{7068258B-AE26-41AE-BE70-95AF9FB41401}" dt="2026-01-22T23:00:50.194" v="479"/>
          <ac:graphicFrameMkLst>
            <pc:docMk/>
            <pc:sldMk cId="590752481" sldId="256"/>
            <ac:graphicFrameMk id="4" creationId="{6E32F414-D454-7BA3-C335-3B51D012983F}"/>
          </ac:graphicFrameMkLst>
        </pc:graphicFrameChg>
        <pc:picChg chg="add del mod ord modCrop">
          <ac:chgData name="Linda Lier" userId="c5892826d897d3cd" providerId="LiveId" clId="{7068258B-AE26-41AE-BE70-95AF9FB41401}" dt="2026-01-22T23:00:55.081" v="480" actId="21"/>
          <ac:picMkLst>
            <pc:docMk/>
            <pc:sldMk cId="590752481" sldId="256"/>
            <ac:picMk id="3" creationId="{0C043331-36FE-DAD8-42D4-6268D17DCF06}"/>
          </ac:picMkLst>
        </pc:picChg>
      </pc:sldChg>
      <pc:sldChg chg="del">
        <pc:chgData name="Linda Lier" userId="c5892826d897d3cd" providerId="LiveId" clId="{7068258B-AE26-41AE-BE70-95AF9FB41401}" dt="2026-01-22T23:06:47.942" v="736" actId="47"/>
        <pc:sldMkLst>
          <pc:docMk/>
          <pc:sldMk cId="1664137204" sldId="257"/>
        </pc:sldMkLst>
      </pc:sldChg>
      <pc:sldChg chg="addSp modSp mod">
        <pc:chgData name="Linda Lier" userId="c5892826d897d3cd" providerId="LiveId" clId="{7068258B-AE26-41AE-BE70-95AF9FB41401}" dt="2026-01-22T23:24:28.720" v="912" actId="14100"/>
        <pc:sldMkLst>
          <pc:docMk/>
          <pc:sldMk cId="2066435072" sldId="258"/>
        </pc:sldMkLst>
        <pc:spChg chg="add mod">
          <ac:chgData name="Linda Lier" userId="c5892826d897d3cd" providerId="LiveId" clId="{7068258B-AE26-41AE-BE70-95AF9FB41401}" dt="2026-01-22T23:24:28.720" v="912" actId="14100"/>
          <ac:spMkLst>
            <pc:docMk/>
            <pc:sldMk cId="2066435072" sldId="258"/>
            <ac:spMk id="2" creationId="{C140E896-F24B-23A0-6CFF-26543B6D6223}"/>
          </ac:spMkLst>
        </pc:spChg>
      </pc:sldChg>
      <pc:sldChg chg="mod modClrScheme chgLayout">
        <pc:chgData name="Linda Lier" userId="c5892826d897d3cd" providerId="LiveId" clId="{7068258B-AE26-41AE-BE70-95AF9FB41401}" dt="2026-01-22T23:29:42.089" v="1652" actId="700"/>
        <pc:sldMkLst>
          <pc:docMk/>
          <pc:sldMk cId="3460967864" sldId="259"/>
        </pc:sldMkLst>
      </pc:sldChg>
      <pc:sldChg chg="addSp modSp del mod">
        <pc:chgData name="Linda Lier" userId="c5892826d897d3cd" providerId="LiveId" clId="{7068258B-AE26-41AE-BE70-95AF9FB41401}" dt="2026-01-22T23:33:09.507" v="1723" actId="47"/>
        <pc:sldMkLst>
          <pc:docMk/>
          <pc:sldMk cId="1996253304" sldId="260"/>
        </pc:sldMkLst>
        <pc:graphicFrameChg chg="add mod ord modVis">
          <ac:chgData name="Linda Lier" userId="c5892826d897d3cd" providerId="LiveId" clId="{7068258B-AE26-41AE-BE70-95AF9FB41401}" dt="2026-01-22T22:55:18.569" v="260"/>
          <ac:graphicFrameMkLst>
            <pc:docMk/>
            <pc:sldMk cId="1996253304" sldId="260"/>
            <ac:graphicFrameMk id="5" creationId="{6FD82604-0D0F-F2D1-CBF7-BCDB26B16EA9}"/>
          </ac:graphicFrameMkLst>
        </pc:graphicFrameChg>
      </pc:sldChg>
      <pc:sldChg chg="addSp delSp modSp add mod modClrScheme chgLayout">
        <pc:chgData name="Linda Lier" userId="c5892826d897d3cd" providerId="LiveId" clId="{7068258B-AE26-41AE-BE70-95AF9FB41401}" dt="2026-01-22T23:41:29.064" v="4918"/>
        <pc:sldMkLst>
          <pc:docMk/>
          <pc:sldMk cId="323168480" sldId="261"/>
        </pc:sldMkLst>
        <pc:spChg chg="mod ord">
          <ac:chgData name="Linda Lier" userId="c5892826d897d3cd" providerId="LiveId" clId="{7068258B-AE26-41AE-BE70-95AF9FB41401}" dt="2026-01-22T23:41:29.047" v="4868"/>
          <ac:spMkLst>
            <pc:docMk/>
            <pc:sldMk cId="323168480" sldId="261"/>
            <ac:spMk id="2" creationId="{E17A78C1-E804-1C62-D13F-BD8EA761FEB8}"/>
          </ac:spMkLst>
        </pc:spChg>
        <pc:spChg chg="add del mod modVis">
          <ac:chgData name="Linda Lier" userId="c5892826d897d3cd" providerId="LiveId" clId="{7068258B-AE26-41AE-BE70-95AF9FB41401}" dt="2026-01-22T23:34:25.192" v="2117"/>
          <ac:spMkLst>
            <pc:docMk/>
            <pc:sldMk cId="323168480" sldId="261"/>
            <ac:spMk id="3" creationId="{06027FA5-E566-6E2E-63AF-F2F77B4BAF7D}"/>
          </ac:spMkLst>
        </pc:spChg>
        <pc:spChg chg="mod ord">
          <ac:chgData name="Linda Lier" userId="c5892826d897d3cd" providerId="LiveId" clId="{7068258B-AE26-41AE-BE70-95AF9FB41401}" dt="2026-01-22T23:41:29.046" v="4866"/>
          <ac:spMkLst>
            <pc:docMk/>
            <pc:sldMk cId="323168480" sldId="261"/>
            <ac:spMk id="4" creationId="{E2943301-37E1-76BE-366D-9830A6E2724D}"/>
          </ac:spMkLst>
        </pc:spChg>
        <pc:spChg chg="add del mod">
          <ac:chgData name="Linda Lier" userId="c5892826d897d3cd" providerId="LiveId" clId="{7068258B-AE26-41AE-BE70-95AF9FB41401}" dt="2026-01-22T23:34:27.634" v="2120"/>
          <ac:spMkLst>
            <pc:docMk/>
            <pc:sldMk cId="323168480" sldId="261"/>
            <ac:spMk id="5" creationId="{4C1F3293-4EFE-461D-940D-7EE66BAE31C5}"/>
          </ac:spMkLst>
        </pc:spChg>
        <pc:spChg chg="mod">
          <ac:chgData name="Linda Lier" userId="c5892826d897d3cd" providerId="LiveId" clId="{7068258B-AE26-41AE-BE70-95AF9FB41401}" dt="2026-01-22T23:41:29.048" v="4871"/>
          <ac:spMkLst>
            <pc:docMk/>
            <pc:sldMk cId="323168480" sldId="261"/>
            <ac:spMk id="7" creationId="{192DB789-515B-4504-BE53-6445F2427687}"/>
          </ac:spMkLst>
        </pc:spChg>
        <pc:spChg chg="mod">
          <ac:chgData name="Linda Lier" userId="c5892826d897d3cd" providerId="LiveId" clId="{7068258B-AE26-41AE-BE70-95AF9FB41401}" dt="2026-01-22T23:41:29.048" v="4872"/>
          <ac:spMkLst>
            <pc:docMk/>
            <pc:sldMk cId="323168480" sldId="261"/>
            <ac:spMk id="9" creationId="{192DB789-515B-4504-BE53-6445F2427687}"/>
          </ac:spMkLst>
        </pc:spChg>
        <pc:spChg chg="mod">
          <ac:chgData name="Linda Lier" userId="c5892826d897d3cd" providerId="LiveId" clId="{7068258B-AE26-41AE-BE70-95AF9FB41401}" dt="2026-01-22T23:41:29.048" v="4873"/>
          <ac:spMkLst>
            <pc:docMk/>
            <pc:sldMk cId="323168480" sldId="261"/>
            <ac:spMk id="10" creationId="{192DB789-515B-4504-BE53-6445F2427687}"/>
          </ac:spMkLst>
        </pc:spChg>
        <pc:spChg chg="mod">
          <ac:chgData name="Linda Lier" userId="c5892826d897d3cd" providerId="LiveId" clId="{7068258B-AE26-41AE-BE70-95AF9FB41401}" dt="2026-01-22T23:41:29.052" v="4885"/>
          <ac:spMkLst>
            <pc:docMk/>
            <pc:sldMk cId="323168480" sldId="261"/>
            <ac:spMk id="11" creationId="{192DB789-515B-4504-BE53-6445F2427687}"/>
          </ac:spMkLst>
        </pc:spChg>
        <pc:spChg chg="mod">
          <ac:chgData name="Linda Lier" userId="c5892826d897d3cd" providerId="LiveId" clId="{7068258B-AE26-41AE-BE70-95AF9FB41401}" dt="2026-01-22T23:41:29.052" v="4884"/>
          <ac:spMkLst>
            <pc:docMk/>
            <pc:sldMk cId="323168480" sldId="261"/>
            <ac:spMk id="12" creationId="{192DB789-515B-4504-BE53-6445F2427687}"/>
          </ac:spMkLst>
        </pc:spChg>
        <pc:spChg chg="mod">
          <ac:chgData name="Linda Lier" userId="c5892826d897d3cd" providerId="LiveId" clId="{7068258B-AE26-41AE-BE70-95AF9FB41401}" dt="2026-01-22T23:41:29.052" v="4883"/>
          <ac:spMkLst>
            <pc:docMk/>
            <pc:sldMk cId="323168480" sldId="261"/>
            <ac:spMk id="13" creationId="{192DB789-515B-4504-BE53-6445F2427687}"/>
          </ac:spMkLst>
        </pc:spChg>
        <pc:spChg chg="mod">
          <ac:chgData name="Linda Lier" userId="c5892826d897d3cd" providerId="LiveId" clId="{7068258B-AE26-41AE-BE70-95AF9FB41401}" dt="2026-01-22T23:41:29.049" v="4874"/>
          <ac:spMkLst>
            <pc:docMk/>
            <pc:sldMk cId="323168480" sldId="261"/>
            <ac:spMk id="14" creationId="{192DB789-515B-4504-BE53-6445F2427687}"/>
          </ac:spMkLst>
        </pc:spChg>
        <pc:spChg chg="mod">
          <ac:chgData name="Linda Lier" userId="c5892826d897d3cd" providerId="LiveId" clId="{7068258B-AE26-41AE-BE70-95AF9FB41401}" dt="2026-01-22T23:41:29.049" v="4875"/>
          <ac:spMkLst>
            <pc:docMk/>
            <pc:sldMk cId="323168480" sldId="261"/>
            <ac:spMk id="15" creationId="{192DB789-515B-4504-BE53-6445F2427687}"/>
          </ac:spMkLst>
        </pc:spChg>
        <pc:spChg chg="mod">
          <ac:chgData name="Linda Lier" userId="c5892826d897d3cd" providerId="LiveId" clId="{7068258B-AE26-41AE-BE70-95AF9FB41401}" dt="2026-01-22T23:41:29.049" v="4876"/>
          <ac:spMkLst>
            <pc:docMk/>
            <pc:sldMk cId="323168480" sldId="261"/>
            <ac:spMk id="16" creationId="{192DB789-515B-4504-BE53-6445F2427687}"/>
          </ac:spMkLst>
        </pc:spChg>
        <pc:spChg chg="mod ord">
          <ac:chgData name="Linda Lier" userId="c5892826d897d3cd" providerId="LiveId" clId="{7068258B-AE26-41AE-BE70-95AF9FB41401}" dt="2026-01-22T23:41:29.050" v="4878"/>
          <ac:spMkLst>
            <pc:docMk/>
            <pc:sldMk cId="323168480" sldId="261"/>
            <ac:spMk id="22" creationId="{055C3236-9B69-A445-ED60-0BAF470898EE}"/>
          </ac:spMkLst>
        </pc:spChg>
        <pc:spChg chg="mod ord">
          <ac:chgData name="Linda Lier" userId="c5892826d897d3cd" providerId="LiveId" clId="{7068258B-AE26-41AE-BE70-95AF9FB41401}" dt="2026-01-22T23:41:29.051" v="4880"/>
          <ac:spMkLst>
            <pc:docMk/>
            <pc:sldMk cId="323168480" sldId="261"/>
            <ac:spMk id="23" creationId="{B174639F-55D1-ED43-5B3F-6271E8FCE09F}"/>
          </ac:spMkLst>
        </pc:spChg>
        <pc:spChg chg="mod ord">
          <ac:chgData name="Linda Lier" userId="c5892826d897d3cd" providerId="LiveId" clId="{7068258B-AE26-41AE-BE70-95AF9FB41401}" dt="2026-01-22T23:41:29.051" v="4882"/>
          <ac:spMkLst>
            <pc:docMk/>
            <pc:sldMk cId="323168480" sldId="261"/>
            <ac:spMk id="24" creationId="{F1856302-E8B1-659C-5482-E4C9D709D762}"/>
          </ac:spMkLst>
        </pc:spChg>
        <pc:spChg chg="mod ord">
          <ac:chgData name="Linda Lier" userId="c5892826d897d3cd" providerId="LiveId" clId="{7068258B-AE26-41AE-BE70-95AF9FB41401}" dt="2026-01-22T23:41:29.054" v="4887"/>
          <ac:spMkLst>
            <pc:docMk/>
            <pc:sldMk cId="323168480" sldId="261"/>
            <ac:spMk id="28" creationId="{89D3AEDC-9788-8D6B-E48E-9A869D30668A}"/>
          </ac:spMkLst>
        </pc:spChg>
        <pc:spChg chg="mod ord">
          <ac:chgData name="Linda Lier" userId="c5892826d897d3cd" providerId="LiveId" clId="{7068258B-AE26-41AE-BE70-95AF9FB41401}" dt="2026-01-22T23:41:29.054" v="4889"/>
          <ac:spMkLst>
            <pc:docMk/>
            <pc:sldMk cId="323168480" sldId="261"/>
            <ac:spMk id="32" creationId="{17E411CE-6D66-7437-37BE-7C0CB39B9FE1}"/>
          </ac:spMkLst>
        </pc:spChg>
        <pc:spChg chg="add del mod">
          <ac:chgData name="Linda Lier" userId="c5892826d897d3cd" providerId="LiveId" clId="{7068258B-AE26-41AE-BE70-95AF9FB41401}" dt="2026-01-22T23:35:12.487" v="2756"/>
          <ac:spMkLst>
            <pc:docMk/>
            <pc:sldMk cId="323168480" sldId="261"/>
            <ac:spMk id="33" creationId="{4C1F3293-4EFE-461D-940D-7EE66BAE31C5}"/>
          </ac:spMkLst>
        </pc:spChg>
        <pc:spChg chg="add del mod modVis">
          <ac:chgData name="Linda Lier" userId="c5892826d897d3cd" providerId="LiveId" clId="{7068258B-AE26-41AE-BE70-95AF9FB41401}" dt="2026-01-22T23:35:04.873" v="2748"/>
          <ac:spMkLst>
            <pc:docMk/>
            <pc:sldMk cId="323168480" sldId="261"/>
            <ac:spMk id="34" creationId="{2DC12896-961C-FE83-8660-46492E3CEC73}"/>
          </ac:spMkLst>
        </pc:spChg>
        <pc:spChg chg="add del mod">
          <ac:chgData name="Linda Lier" userId="c5892826d897d3cd" providerId="LiveId" clId="{7068258B-AE26-41AE-BE70-95AF9FB41401}" dt="2026-01-22T23:35:17.657" v="3110"/>
          <ac:spMkLst>
            <pc:docMk/>
            <pc:sldMk cId="323168480" sldId="261"/>
            <ac:spMk id="37" creationId="{4C1F3293-4EFE-461D-940D-7EE66BAE31C5}"/>
          </ac:spMkLst>
        </pc:spChg>
        <pc:spChg chg="mod">
          <ac:chgData name="Linda Lier" userId="c5892826d897d3cd" providerId="LiveId" clId="{7068258B-AE26-41AE-BE70-95AF9FB41401}" dt="2026-01-22T23:41:29.057" v="4900"/>
          <ac:spMkLst>
            <pc:docMk/>
            <pc:sldMk cId="323168480" sldId="261"/>
            <ac:spMk id="38" creationId="{192DB789-515B-4504-BE53-6445F2427687}"/>
          </ac:spMkLst>
        </pc:spChg>
        <pc:spChg chg="mod">
          <ac:chgData name="Linda Lier" userId="c5892826d897d3cd" providerId="LiveId" clId="{7068258B-AE26-41AE-BE70-95AF9FB41401}" dt="2026-01-22T23:41:29.058" v="4901"/>
          <ac:spMkLst>
            <pc:docMk/>
            <pc:sldMk cId="323168480" sldId="261"/>
            <ac:spMk id="39" creationId="{192DB789-515B-4504-BE53-6445F2427687}"/>
          </ac:spMkLst>
        </pc:spChg>
        <pc:spChg chg="mod">
          <ac:chgData name="Linda Lier" userId="c5892826d897d3cd" providerId="LiveId" clId="{7068258B-AE26-41AE-BE70-95AF9FB41401}" dt="2026-01-22T23:41:29.058" v="4902"/>
          <ac:spMkLst>
            <pc:docMk/>
            <pc:sldMk cId="323168480" sldId="261"/>
            <ac:spMk id="40" creationId="{192DB789-515B-4504-BE53-6445F2427687}"/>
          </ac:spMkLst>
        </pc:spChg>
        <pc:spChg chg="add del mod modVis">
          <ac:chgData name="Linda Lier" userId="c5892826d897d3cd" providerId="LiveId" clId="{7068258B-AE26-41AE-BE70-95AF9FB41401}" dt="2026-01-22T23:35:15.287" v="3107"/>
          <ac:spMkLst>
            <pc:docMk/>
            <pc:sldMk cId="323168480" sldId="261"/>
            <ac:spMk id="41" creationId="{E8706044-FCA3-BB34-2B16-E9304B9FA79C}"/>
          </ac:spMkLst>
        </pc:spChg>
        <pc:spChg chg="mod">
          <ac:chgData name="Linda Lier" userId="c5892826d897d3cd" providerId="LiveId" clId="{7068258B-AE26-41AE-BE70-95AF9FB41401}" dt="2026-01-22T23:41:29.060" v="4903"/>
          <ac:spMkLst>
            <pc:docMk/>
            <pc:sldMk cId="323168480" sldId="261"/>
            <ac:spMk id="42" creationId="{57CB579A-5F94-436D-1609-743F0358BF11}"/>
          </ac:spMkLst>
        </pc:spChg>
        <pc:spChg chg="add del mod">
          <ac:chgData name="Linda Lier" userId="c5892826d897d3cd" providerId="LiveId" clId="{7068258B-AE26-41AE-BE70-95AF9FB41401}" dt="2026-01-22T23:35:17.659" v="3111"/>
          <ac:spMkLst>
            <pc:docMk/>
            <pc:sldMk cId="323168480" sldId="261"/>
            <ac:spMk id="43" creationId="{4C1F3293-4EFE-461D-940D-7EE66BAE31C5}"/>
          </ac:spMkLst>
        </pc:spChg>
        <pc:spChg chg="add del mod">
          <ac:chgData name="Linda Lier" userId="c5892826d897d3cd" providerId="LiveId" clId="{7068258B-AE26-41AE-BE70-95AF9FB41401}" dt="2026-01-22T23:35:17.660" v="3112"/>
          <ac:spMkLst>
            <pc:docMk/>
            <pc:sldMk cId="323168480" sldId="261"/>
            <ac:spMk id="44" creationId="{4C1F3293-4EFE-461D-940D-7EE66BAE31C5}"/>
          </ac:spMkLst>
        </pc:spChg>
        <pc:spChg chg="add del mod">
          <ac:chgData name="Linda Lier" userId="c5892826d897d3cd" providerId="LiveId" clId="{7068258B-AE26-41AE-BE70-95AF9FB41401}" dt="2026-01-22T23:35:17.661" v="3113"/>
          <ac:spMkLst>
            <pc:docMk/>
            <pc:sldMk cId="323168480" sldId="261"/>
            <ac:spMk id="45" creationId="{4C1F3293-4EFE-461D-940D-7EE66BAE31C5}"/>
          </ac:spMkLst>
        </pc:spChg>
        <pc:spChg chg="mod ord">
          <ac:chgData name="Linda Lier" userId="c5892826d897d3cd" providerId="LiveId" clId="{7068258B-AE26-41AE-BE70-95AF9FB41401}" dt="2026-01-22T23:41:29.055" v="4893"/>
          <ac:spMkLst>
            <pc:docMk/>
            <pc:sldMk cId="323168480" sldId="261"/>
            <ac:spMk id="47" creationId="{3A35BA7D-DEA0-1B3A-1EEE-E1071A92E62D}"/>
          </ac:spMkLst>
        </pc:spChg>
        <pc:spChg chg="mod ord">
          <ac:chgData name="Linda Lier" userId="c5892826d897d3cd" providerId="LiveId" clId="{7068258B-AE26-41AE-BE70-95AF9FB41401}" dt="2026-01-22T23:41:29.056" v="4895"/>
          <ac:spMkLst>
            <pc:docMk/>
            <pc:sldMk cId="323168480" sldId="261"/>
            <ac:spMk id="48" creationId="{F7442065-F8E6-44B3-5D42-0CAA01F08F35}"/>
          </ac:spMkLst>
        </pc:spChg>
        <pc:spChg chg="mod ord">
          <ac:chgData name="Linda Lier" userId="c5892826d897d3cd" providerId="LiveId" clId="{7068258B-AE26-41AE-BE70-95AF9FB41401}" dt="2026-01-22T23:41:29.057" v="4897"/>
          <ac:spMkLst>
            <pc:docMk/>
            <pc:sldMk cId="323168480" sldId="261"/>
            <ac:spMk id="49" creationId="{4D565D26-6677-D033-BDB5-9A879B7673CC}"/>
          </ac:spMkLst>
        </pc:spChg>
        <pc:spChg chg="mod ord">
          <ac:chgData name="Linda Lier" userId="c5892826d897d3cd" providerId="LiveId" clId="{7068258B-AE26-41AE-BE70-95AF9FB41401}" dt="2026-01-22T23:41:29.057" v="4899"/>
          <ac:spMkLst>
            <pc:docMk/>
            <pc:sldMk cId="323168480" sldId="261"/>
            <ac:spMk id="50" creationId="{336C0A73-1406-BFFB-CC4E-CB364A75CDE0}"/>
          </ac:spMkLst>
        </pc:spChg>
        <pc:spChg chg="add del mod">
          <ac:chgData name="Linda Lier" userId="c5892826d897d3cd" providerId="LiveId" clId="{7068258B-AE26-41AE-BE70-95AF9FB41401}" dt="2026-01-22T23:35:24.432" v="3375"/>
          <ac:spMkLst>
            <pc:docMk/>
            <pc:sldMk cId="323168480" sldId="261"/>
            <ac:spMk id="53" creationId="{4C1F3293-4EFE-461D-940D-7EE66BAE31C5}"/>
          </ac:spMkLst>
        </pc:spChg>
        <pc:spChg chg="add del mod modVis">
          <ac:chgData name="Linda Lier" userId="c5892826d897d3cd" providerId="LiveId" clId="{7068258B-AE26-41AE-BE70-95AF9FB41401}" dt="2026-01-22T23:35:20.021" v="3369"/>
          <ac:spMkLst>
            <pc:docMk/>
            <pc:sldMk cId="323168480" sldId="261"/>
            <ac:spMk id="54" creationId="{83529574-F3CC-EC13-EAD4-04A999F5D841}"/>
          </ac:spMkLst>
        </pc:spChg>
        <pc:spChg chg="add del mod">
          <ac:chgData name="Linda Lier" userId="c5892826d897d3cd" providerId="LiveId" clId="{7068258B-AE26-41AE-BE70-95AF9FB41401}" dt="2026-01-22T23:35:31.235" v="3557"/>
          <ac:spMkLst>
            <pc:docMk/>
            <pc:sldMk cId="323168480" sldId="261"/>
            <ac:spMk id="57" creationId="{4C1F3293-4EFE-461D-940D-7EE66BAE31C5}"/>
          </ac:spMkLst>
        </pc:spChg>
        <pc:spChg chg="mod">
          <ac:chgData name="Linda Lier" userId="c5892826d897d3cd" providerId="LiveId" clId="{7068258B-AE26-41AE-BE70-95AF9FB41401}" dt="2026-01-22T23:41:29.062" v="4912"/>
          <ac:spMkLst>
            <pc:docMk/>
            <pc:sldMk cId="323168480" sldId="261"/>
            <ac:spMk id="58" creationId="{192DB789-515B-4504-BE53-6445F2427687}"/>
          </ac:spMkLst>
        </pc:spChg>
        <pc:spChg chg="mod">
          <ac:chgData name="Linda Lier" userId="c5892826d897d3cd" providerId="LiveId" clId="{7068258B-AE26-41AE-BE70-95AF9FB41401}" dt="2026-01-22T23:41:29.062" v="4913"/>
          <ac:spMkLst>
            <pc:docMk/>
            <pc:sldMk cId="323168480" sldId="261"/>
            <ac:spMk id="59" creationId="{192DB789-515B-4504-BE53-6445F2427687}"/>
          </ac:spMkLst>
        </pc:spChg>
        <pc:spChg chg="mod">
          <ac:chgData name="Linda Lier" userId="c5892826d897d3cd" providerId="LiveId" clId="{7068258B-AE26-41AE-BE70-95AF9FB41401}" dt="2026-01-22T23:41:29.063" v="4914"/>
          <ac:spMkLst>
            <pc:docMk/>
            <pc:sldMk cId="323168480" sldId="261"/>
            <ac:spMk id="61" creationId="{A2C4508E-6B88-7921-6981-09799D478ED1}"/>
          </ac:spMkLst>
        </pc:spChg>
        <pc:spChg chg="add del mod">
          <ac:chgData name="Linda Lier" userId="c5892826d897d3cd" providerId="LiveId" clId="{7068258B-AE26-41AE-BE70-95AF9FB41401}" dt="2026-01-22T23:35:42.289" v="3816"/>
          <ac:spMkLst>
            <pc:docMk/>
            <pc:sldMk cId="323168480" sldId="261"/>
            <ac:spMk id="64" creationId="{4C1F3293-4EFE-461D-940D-7EE66BAE31C5}"/>
          </ac:spMkLst>
        </pc:spChg>
        <pc:spChg chg="add del mod modVis">
          <ac:chgData name="Linda Lier" userId="c5892826d897d3cd" providerId="LiveId" clId="{7068258B-AE26-41AE-BE70-95AF9FB41401}" dt="2026-01-22T23:35:40.922" v="3813"/>
          <ac:spMkLst>
            <pc:docMk/>
            <pc:sldMk cId="323168480" sldId="261"/>
            <ac:spMk id="65" creationId="{68BDC712-04D7-000A-7B84-86194A4466BA}"/>
          </ac:spMkLst>
        </pc:spChg>
        <pc:spChg chg="add del mod modVis">
          <ac:chgData name="Linda Lier" userId="c5892826d897d3cd" providerId="LiveId" clId="{7068258B-AE26-41AE-BE70-95AF9FB41401}" dt="2026-01-22T23:39:38.600" v="4239"/>
          <ac:spMkLst>
            <pc:docMk/>
            <pc:sldMk cId="323168480" sldId="261"/>
            <ac:spMk id="69" creationId="{D8679D3B-081B-E7CA-D98A-BACDCECDAE3F}"/>
          </ac:spMkLst>
        </pc:spChg>
        <pc:spChg chg="add del mod ord">
          <ac:chgData name="Linda Lier" userId="c5892826d897d3cd" providerId="LiveId" clId="{7068258B-AE26-41AE-BE70-95AF9FB41401}" dt="2026-01-22T23:41:07.924" v="4402" actId="478"/>
          <ac:spMkLst>
            <pc:docMk/>
            <pc:sldMk cId="323168480" sldId="261"/>
            <ac:spMk id="70" creationId="{9C8702CA-9DB3-C226-F6E0-54E9B3763358}"/>
          </ac:spMkLst>
        </pc:spChg>
        <pc:spChg chg="add del mod">
          <ac:chgData name="Linda Lier" userId="c5892826d897d3cd" providerId="LiveId" clId="{7068258B-AE26-41AE-BE70-95AF9FB41401}" dt="2026-01-22T23:41:26.760" v="4798"/>
          <ac:spMkLst>
            <pc:docMk/>
            <pc:sldMk cId="323168480" sldId="261"/>
            <ac:spMk id="75" creationId="{4C1F3293-4EFE-461D-940D-7EE66BAE31C5}"/>
          </ac:spMkLst>
        </pc:spChg>
        <pc:spChg chg="add del mod modVis">
          <ac:chgData name="Linda Lier" userId="c5892826d897d3cd" providerId="LiveId" clId="{7068258B-AE26-41AE-BE70-95AF9FB41401}" dt="2026-01-22T23:41:25.735" v="4795"/>
          <ac:spMkLst>
            <pc:docMk/>
            <pc:sldMk cId="323168480" sldId="261"/>
            <ac:spMk id="76" creationId="{22C8B304-6AE4-4596-5969-FD37327C0430}"/>
          </ac:spMkLst>
        </pc:spChg>
        <pc:spChg chg="mod ord">
          <ac:chgData name="Linda Lier" userId="c5892826d897d3cd" providerId="LiveId" clId="{7068258B-AE26-41AE-BE70-95AF9FB41401}" dt="2026-01-22T23:41:29.063" v="4916"/>
          <ac:spMkLst>
            <pc:docMk/>
            <pc:sldMk cId="323168480" sldId="261"/>
            <ac:spMk id="94" creationId="{6381C36B-EBE8-FC20-F70E-552F5CA23EA8}"/>
          </ac:spMkLst>
        </pc:spChg>
        <pc:graphicFrameChg chg="mod">
          <ac:chgData name="Linda Lier" userId="c5892826d897d3cd" providerId="LiveId" clId="{7068258B-AE26-41AE-BE70-95AF9FB41401}" dt="2026-01-22T23:41:29.064" v="4918"/>
          <ac:graphicFrameMkLst>
            <pc:docMk/>
            <pc:sldMk cId="323168480" sldId="261"/>
            <ac:graphicFrameMk id="6" creationId="{F502D1BA-AE88-F868-B06D-6E5675F38E3D}"/>
          </ac:graphicFrameMkLst>
        </pc:graphicFrameChg>
        <pc:graphicFrameChg chg="add del mod ord">
          <ac:chgData name="Linda Lier" userId="c5892826d897d3cd" providerId="LiveId" clId="{7068258B-AE26-41AE-BE70-95AF9FB41401}" dt="2026-01-22T23:34:27.639" v="2122"/>
          <ac:graphicFrameMkLst>
            <pc:docMk/>
            <pc:sldMk cId="323168480" sldId="261"/>
            <ac:graphicFrameMk id="8" creationId="{403A75C2-7556-4061-6F42-2CCEFD2C978C}"/>
          </ac:graphicFrameMkLst>
        </pc:graphicFrameChg>
        <pc:graphicFrameChg chg="add del mod ord">
          <ac:chgData name="Linda Lier" userId="c5892826d897d3cd" providerId="LiveId" clId="{7068258B-AE26-41AE-BE70-95AF9FB41401}" dt="2026-01-22T23:34:38.350" v="2183"/>
          <ac:graphicFrameMkLst>
            <pc:docMk/>
            <pc:sldMk cId="323168480" sldId="261"/>
            <ac:graphicFrameMk id="17" creationId="{1A6B39D3-D6BA-A429-EC50-106308579947}"/>
          </ac:graphicFrameMkLst>
        </pc:graphicFrameChg>
        <pc:graphicFrameChg chg="del mod ord">
          <ac:chgData name="Linda Lier" userId="c5892826d897d3cd" providerId="LiveId" clId="{7068258B-AE26-41AE-BE70-95AF9FB41401}" dt="2026-01-22T23:34:52.265" v="2372"/>
          <ac:graphicFrameMkLst>
            <pc:docMk/>
            <pc:sldMk cId="323168480" sldId="261"/>
            <ac:graphicFrameMk id="18" creationId="{351F5E21-3B5C-01CB-3759-6B5029154BC3}"/>
          </ac:graphicFrameMkLst>
        </pc:graphicFrameChg>
        <pc:graphicFrameChg chg="add del mod ord">
          <ac:chgData name="Linda Lier" userId="c5892826d897d3cd" providerId="LiveId" clId="{7068258B-AE26-41AE-BE70-95AF9FB41401}" dt="2026-01-22T23:35:03.184" v="2555"/>
          <ac:graphicFrameMkLst>
            <pc:docMk/>
            <pc:sldMk cId="323168480" sldId="261"/>
            <ac:graphicFrameMk id="19" creationId="{50F1472F-A66D-AAA3-9029-CF75E8C1E332}"/>
          </ac:graphicFrameMkLst>
        </pc:graphicFrameChg>
        <pc:graphicFrameChg chg="add del mod ord">
          <ac:chgData name="Linda Lier" userId="c5892826d897d3cd" providerId="LiveId" clId="{7068258B-AE26-41AE-BE70-95AF9FB41401}" dt="2026-01-22T23:34:47.948" v="2309"/>
          <ac:graphicFrameMkLst>
            <pc:docMk/>
            <pc:sldMk cId="323168480" sldId="261"/>
            <ac:graphicFrameMk id="20" creationId="{2C06C098-84FE-3BFB-D617-3FAE541F57F2}"/>
          </ac:graphicFrameMkLst>
        </pc:graphicFrameChg>
        <pc:graphicFrameChg chg="add del mod ord">
          <ac:chgData name="Linda Lier" userId="c5892826d897d3cd" providerId="LiveId" clId="{7068258B-AE26-41AE-BE70-95AF9FB41401}" dt="2026-01-22T23:35:04.816" v="2688"/>
          <ac:graphicFrameMkLst>
            <pc:docMk/>
            <pc:sldMk cId="323168480" sldId="261"/>
            <ac:graphicFrameMk id="21" creationId="{24CB785E-3360-6B97-DC77-1F04B331D4C0}"/>
          </ac:graphicFrameMkLst>
        </pc:graphicFrameChg>
        <pc:graphicFrameChg chg="add del mod ord">
          <ac:chgData name="Linda Lier" userId="c5892826d897d3cd" providerId="LiveId" clId="{7068258B-AE26-41AE-BE70-95AF9FB41401}" dt="2026-01-22T23:34:55.524" v="2433"/>
          <ac:graphicFrameMkLst>
            <pc:docMk/>
            <pc:sldMk cId="323168480" sldId="261"/>
            <ac:graphicFrameMk id="25" creationId="{CB347879-D969-4C5B-3FD9-1A2160A39490}"/>
          </ac:graphicFrameMkLst>
        </pc:graphicFrameChg>
        <pc:graphicFrameChg chg="del">
          <ac:chgData name="Linda Lier" userId="c5892826d897d3cd" providerId="LiveId" clId="{7068258B-AE26-41AE-BE70-95AF9FB41401}" dt="2026-01-22T23:34:25.078" v="1987"/>
          <ac:graphicFrameMkLst>
            <pc:docMk/>
            <pc:sldMk cId="323168480" sldId="261"/>
            <ac:graphicFrameMk id="26" creationId="{99F69CCD-D2A9-2242-181B-048260CDF8F2}"/>
          </ac:graphicFrameMkLst>
        </pc:graphicFrameChg>
        <pc:graphicFrameChg chg="del mod ord">
          <ac:chgData name="Linda Lier" userId="c5892826d897d3cd" providerId="LiveId" clId="{7068258B-AE26-41AE-BE70-95AF9FB41401}" dt="2026-01-22T23:34:42.736" v="2246"/>
          <ac:graphicFrameMkLst>
            <pc:docMk/>
            <pc:sldMk cId="323168480" sldId="261"/>
            <ac:graphicFrameMk id="27" creationId="{5513D293-AF5C-C72C-FDC4-81E6C885C065}"/>
          </ac:graphicFrameMkLst>
        </pc:graphicFrameChg>
        <pc:graphicFrameChg chg="add del mod ord">
          <ac:chgData name="Linda Lier" userId="c5892826d897d3cd" providerId="LiveId" clId="{7068258B-AE26-41AE-BE70-95AF9FB41401}" dt="2026-01-22T23:34:59.569" v="2494"/>
          <ac:graphicFrameMkLst>
            <pc:docMk/>
            <pc:sldMk cId="323168480" sldId="261"/>
            <ac:graphicFrameMk id="29" creationId="{36991CDD-212D-1423-47A5-E9F405A92E7C}"/>
          </ac:graphicFrameMkLst>
        </pc:graphicFrameChg>
        <pc:graphicFrameChg chg="add del mod ord">
          <ac:chgData name="Linda Lier" userId="c5892826d897d3cd" providerId="LiveId" clId="{7068258B-AE26-41AE-BE70-95AF9FB41401}" dt="2026-01-22T23:35:15.226" v="3044"/>
          <ac:graphicFrameMkLst>
            <pc:docMk/>
            <pc:sldMk cId="323168480" sldId="261"/>
            <ac:graphicFrameMk id="30" creationId="{870BA3DB-AC93-55E4-CB66-347941D934D8}"/>
          </ac:graphicFrameMkLst>
        </pc:graphicFrameChg>
        <pc:graphicFrameChg chg="add del mod ord">
          <ac:chgData name="Linda Lier" userId="c5892826d897d3cd" providerId="LiveId" clId="{7068258B-AE26-41AE-BE70-95AF9FB41401}" dt="2026-01-22T23:35:37.969" v="3620"/>
          <ac:graphicFrameMkLst>
            <pc:docMk/>
            <pc:sldMk cId="323168480" sldId="261"/>
            <ac:graphicFrameMk id="31" creationId="{65DA7D7E-8E5C-623C-DCD7-32B6F23F700E}"/>
          </ac:graphicFrameMkLst>
        </pc:graphicFrameChg>
        <pc:graphicFrameChg chg="add del mod ord">
          <ac:chgData name="Linda Lier" userId="c5892826d897d3cd" providerId="LiveId" clId="{7068258B-AE26-41AE-BE70-95AF9FB41401}" dt="2026-01-22T23:35:12.488" v="2758"/>
          <ac:graphicFrameMkLst>
            <pc:docMk/>
            <pc:sldMk cId="323168480" sldId="261"/>
            <ac:graphicFrameMk id="35" creationId="{CF64E75D-7C66-6E7F-2AD9-37FA6068ED18}"/>
          </ac:graphicFrameMkLst>
        </pc:graphicFrameChg>
        <pc:graphicFrameChg chg="add del mod ord">
          <ac:chgData name="Linda Lier" userId="c5892826d897d3cd" providerId="LiveId" clId="{7068258B-AE26-41AE-BE70-95AF9FB41401}" dt="2026-01-22T23:35:19.965" v="3309"/>
          <ac:graphicFrameMkLst>
            <pc:docMk/>
            <pc:sldMk cId="323168480" sldId="261"/>
            <ac:graphicFrameMk id="36" creationId="{3404A68C-077D-4671-3C3F-98367E02AFD9}"/>
          </ac:graphicFrameMkLst>
        </pc:graphicFrameChg>
        <pc:graphicFrameChg chg="add del mod ord">
          <ac:chgData name="Linda Lier" userId="c5892826d897d3cd" providerId="LiveId" clId="{7068258B-AE26-41AE-BE70-95AF9FB41401}" dt="2026-01-22T23:35:17.665" v="3115"/>
          <ac:graphicFrameMkLst>
            <pc:docMk/>
            <pc:sldMk cId="323168480" sldId="261"/>
            <ac:graphicFrameMk id="46" creationId="{E1367682-0A50-FA20-26F9-2FEDC0A2AD6D}"/>
          </ac:graphicFrameMkLst>
        </pc:graphicFrameChg>
        <pc:graphicFrameChg chg="add del mod ord">
          <ac:chgData name="Linda Lier" userId="c5892826d897d3cd" providerId="LiveId" clId="{7068258B-AE26-41AE-BE70-95AF9FB41401}" dt="2026-01-22T23:35:18.916" v="3176"/>
          <ac:graphicFrameMkLst>
            <pc:docMk/>
            <pc:sldMk cId="323168480" sldId="261"/>
            <ac:graphicFrameMk id="51" creationId="{A015B140-5273-4C02-F871-973EC815DECB}"/>
          </ac:graphicFrameMkLst>
        </pc:graphicFrameChg>
        <pc:graphicFrameChg chg="add del mod ord">
          <ac:chgData name="Linda Lier" userId="c5892826d897d3cd" providerId="LiveId" clId="{7068258B-AE26-41AE-BE70-95AF9FB41401}" dt="2026-01-22T23:41:12.467" v="4449"/>
          <ac:graphicFrameMkLst>
            <pc:docMk/>
            <pc:sldMk cId="323168480" sldId="261"/>
            <ac:graphicFrameMk id="52" creationId="{2381B456-3A29-DBEE-D505-73A417C6A1A2}"/>
          </ac:graphicFrameMkLst>
        </pc:graphicFrameChg>
        <pc:graphicFrameChg chg="add del mod ord">
          <ac:chgData name="Linda Lier" userId="c5892826d897d3cd" providerId="LiveId" clId="{7068258B-AE26-41AE-BE70-95AF9FB41401}" dt="2026-01-22T23:35:24.435" v="3377"/>
          <ac:graphicFrameMkLst>
            <pc:docMk/>
            <pc:sldMk cId="323168480" sldId="261"/>
            <ac:graphicFrameMk id="55" creationId="{896DDA4F-B844-5D62-7612-48E748A00170}"/>
          </ac:graphicFrameMkLst>
        </pc:graphicFrameChg>
        <pc:graphicFrameChg chg="add del mod ord">
          <ac:chgData name="Linda Lier" userId="c5892826d897d3cd" providerId="LiveId" clId="{7068258B-AE26-41AE-BE70-95AF9FB41401}" dt="2026-01-22T23:35:24.803" v="3492"/>
          <ac:graphicFrameMkLst>
            <pc:docMk/>
            <pc:sldMk cId="323168480" sldId="261"/>
            <ac:graphicFrameMk id="56" creationId="{4FF63F30-33F7-93A2-CE7A-14DEA18C7193}"/>
          </ac:graphicFrameMkLst>
        </pc:graphicFrameChg>
        <pc:graphicFrameChg chg="add del mod ord">
          <ac:chgData name="Linda Lier" userId="c5892826d897d3cd" providerId="LiveId" clId="{7068258B-AE26-41AE-BE70-95AF9FB41401}" dt="2026-01-22T23:35:31.237" v="3559"/>
          <ac:graphicFrameMkLst>
            <pc:docMk/>
            <pc:sldMk cId="323168480" sldId="261"/>
            <ac:graphicFrameMk id="60" creationId="{3D14D8A3-D66C-349A-DEE9-C1FC18823DA9}"/>
          </ac:graphicFrameMkLst>
        </pc:graphicFrameChg>
        <pc:graphicFrameChg chg="add del mod ord">
          <ac:chgData name="Linda Lier" userId="c5892826d897d3cd" providerId="LiveId" clId="{7068258B-AE26-41AE-BE70-95AF9FB41401}" dt="2026-01-22T23:41:12.427" v="4430"/>
          <ac:graphicFrameMkLst>
            <pc:docMk/>
            <pc:sldMk cId="323168480" sldId="261"/>
            <ac:graphicFrameMk id="62" creationId="{0160B496-9F9C-EF38-A22C-10265E797F66}"/>
          </ac:graphicFrameMkLst>
        </pc:graphicFrameChg>
        <pc:graphicFrameChg chg="add del mod ord">
          <ac:chgData name="Linda Lier" userId="c5892826d897d3cd" providerId="LiveId" clId="{7068258B-AE26-41AE-BE70-95AF9FB41401}" dt="2026-01-22T23:35:40.820" v="3753"/>
          <ac:graphicFrameMkLst>
            <pc:docMk/>
            <pc:sldMk cId="323168480" sldId="261"/>
            <ac:graphicFrameMk id="63" creationId="{3ABD118C-0B37-83FB-B2BB-960F8BD6C2A7}"/>
          </ac:graphicFrameMkLst>
        </pc:graphicFrameChg>
        <pc:graphicFrameChg chg="add del mod ord">
          <ac:chgData name="Linda Lier" userId="c5892826d897d3cd" providerId="LiveId" clId="{7068258B-AE26-41AE-BE70-95AF9FB41401}" dt="2026-01-22T23:35:42.294" v="3818"/>
          <ac:graphicFrameMkLst>
            <pc:docMk/>
            <pc:sldMk cId="323168480" sldId="261"/>
            <ac:graphicFrameMk id="66" creationId="{804AD0A8-2C59-BF1D-6207-CAC7E333F6CA}"/>
          </ac:graphicFrameMkLst>
        </pc:graphicFrameChg>
        <pc:graphicFrameChg chg="add del mod ord">
          <ac:chgData name="Linda Lier" userId="c5892826d897d3cd" providerId="LiveId" clId="{7068258B-AE26-41AE-BE70-95AF9FB41401}" dt="2026-01-22T23:35:44.395" v="3879"/>
          <ac:graphicFrameMkLst>
            <pc:docMk/>
            <pc:sldMk cId="323168480" sldId="261"/>
            <ac:graphicFrameMk id="67" creationId="{FCB1C7B0-BED2-831A-FE89-7D273B04F422}"/>
          </ac:graphicFrameMkLst>
        </pc:graphicFrameChg>
        <pc:graphicFrameChg chg="add del mod ord">
          <ac:chgData name="Linda Lier" userId="c5892826d897d3cd" providerId="LiveId" clId="{7068258B-AE26-41AE-BE70-95AF9FB41401}" dt="2026-01-22T23:41:12.383" v="4410"/>
          <ac:graphicFrameMkLst>
            <pc:docMk/>
            <pc:sldMk cId="323168480" sldId="261"/>
            <ac:graphicFrameMk id="68" creationId="{5C4C2203-36B5-D466-F102-19456C0B1CDE}"/>
          </ac:graphicFrameMkLst>
        </pc:graphicFrameChg>
        <pc:graphicFrameChg chg="add del mod ord">
          <ac:chgData name="Linda Lier" userId="c5892826d897d3cd" providerId="LiveId" clId="{7068258B-AE26-41AE-BE70-95AF9FB41401}" dt="2026-01-22T23:41:25.684" v="4736"/>
          <ac:graphicFrameMkLst>
            <pc:docMk/>
            <pc:sldMk cId="323168480" sldId="261"/>
            <ac:graphicFrameMk id="71" creationId="{0F761D8E-FC34-3741-ADA2-9E9103AA57D9}"/>
          </ac:graphicFrameMkLst>
        </pc:graphicFrameChg>
        <pc:graphicFrameChg chg="add mod ord">
          <ac:chgData name="Linda Lier" userId="c5892826d897d3cd" providerId="LiveId" clId="{7068258B-AE26-41AE-BE70-95AF9FB41401}" dt="2026-01-22T23:41:29.055" v="4891"/>
          <ac:graphicFrameMkLst>
            <pc:docMk/>
            <pc:sldMk cId="323168480" sldId="261"/>
            <ac:graphicFrameMk id="72" creationId="{DDA44E66-25AD-69DA-C5C3-F564E2C79D65}"/>
          </ac:graphicFrameMkLst>
        </pc:graphicFrameChg>
        <pc:graphicFrameChg chg="add del mod ord">
          <ac:chgData name="Linda Lier" userId="c5892826d897d3cd" providerId="LiveId" clId="{7068258B-AE26-41AE-BE70-95AF9FB41401}" dt="2026-01-22T23:41:17.027" v="4562"/>
          <ac:graphicFrameMkLst>
            <pc:docMk/>
            <pc:sldMk cId="323168480" sldId="261"/>
            <ac:graphicFrameMk id="73" creationId="{1A7C616C-8287-DF19-E6EC-E48951CBB8B3}"/>
          </ac:graphicFrameMkLst>
        </pc:graphicFrameChg>
        <pc:graphicFrameChg chg="add mod ord">
          <ac:chgData name="Linda Lier" userId="c5892826d897d3cd" providerId="LiveId" clId="{7068258B-AE26-41AE-BE70-95AF9FB41401}" dt="2026-01-22T23:41:29.060" v="4905"/>
          <ac:graphicFrameMkLst>
            <pc:docMk/>
            <pc:sldMk cId="323168480" sldId="261"/>
            <ac:graphicFrameMk id="74" creationId="{51B52438-A8A1-0541-FD8F-C8A62FC846ED}"/>
          </ac:graphicFrameMkLst>
        </pc:graphicFrameChg>
        <pc:graphicFrameChg chg="add del mod ord">
          <ac:chgData name="Linda Lier" userId="c5892826d897d3cd" providerId="LiveId" clId="{7068258B-AE26-41AE-BE70-95AF9FB41401}" dt="2026-01-22T23:41:26.763" v="4800"/>
          <ac:graphicFrameMkLst>
            <pc:docMk/>
            <pc:sldMk cId="323168480" sldId="261"/>
            <ac:graphicFrameMk id="77" creationId="{D329B5C3-63EF-7508-5FE1-79D4109C3793}"/>
          </ac:graphicFrameMkLst>
        </pc:graphicFrameChg>
        <pc:graphicFrameChg chg="add del mod ord">
          <ac:chgData name="Linda Lier" userId="c5892826d897d3cd" providerId="LiveId" clId="{7068258B-AE26-41AE-BE70-95AF9FB41401}" dt="2026-01-22T23:41:29.008" v="4860"/>
          <ac:graphicFrameMkLst>
            <pc:docMk/>
            <pc:sldMk cId="323168480" sldId="261"/>
            <ac:graphicFrameMk id="78" creationId="{2BC5160E-86B7-659D-4A8D-1B1B23C9F518}"/>
          </ac:graphicFrameMkLst>
        </pc:graphicFrameChg>
        <pc:graphicFrameChg chg="add mod ord">
          <ac:chgData name="Linda Lier" userId="c5892826d897d3cd" providerId="LiveId" clId="{7068258B-AE26-41AE-BE70-95AF9FB41401}" dt="2026-01-22T23:41:29.048" v="4870"/>
          <ac:graphicFrameMkLst>
            <pc:docMk/>
            <pc:sldMk cId="323168480" sldId="261"/>
            <ac:graphicFrameMk id="79" creationId="{C6238669-16CB-6857-5B4D-B0C3CFD0F798}"/>
          </ac:graphicFrameMkLst>
        </pc:graphicFrameChg>
        <pc:cxnChg chg="mod ord">
          <ac:chgData name="Linda Lier" userId="c5892826d897d3cd" providerId="LiveId" clId="{7068258B-AE26-41AE-BE70-95AF9FB41401}" dt="2026-01-22T23:41:29.061" v="4907"/>
          <ac:cxnSpMkLst>
            <pc:docMk/>
            <pc:sldMk cId="323168480" sldId="261"/>
            <ac:cxnSpMk id="86" creationId="{2DB8F885-ACE6-77F9-3972-17C39918919B}"/>
          </ac:cxnSpMkLst>
        </pc:cxnChg>
        <pc:cxnChg chg="mod ord">
          <ac:chgData name="Linda Lier" userId="c5892826d897d3cd" providerId="LiveId" clId="{7068258B-AE26-41AE-BE70-95AF9FB41401}" dt="2026-01-22T23:41:29.061" v="4909"/>
          <ac:cxnSpMkLst>
            <pc:docMk/>
            <pc:sldMk cId="323168480" sldId="261"/>
            <ac:cxnSpMk id="87" creationId="{D581ABAE-B382-5C65-A300-D66AE76DEA4A}"/>
          </ac:cxnSpMkLst>
        </pc:cxnChg>
        <pc:cxnChg chg="mod ord">
          <ac:chgData name="Linda Lier" userId="c5892826d897d3cd" providerId="LiveId" clId="{7068258B-AE26-41AE-BE70-95AF9FB41401}" dt="2026-01-22T23:41:29.062" v="4911"/>
          <ac:cxnSpMkLst>
            <pc:docMk/>
            <pc:sldMk cId="323168480" sldId="261"/>
            <ac:cxnSpMk id="88" creationId="{BCEE8739-CA64-EE4B-BD2A-BD5362C65C07}"/>
          </ac:cxnSpMkLst>
        </pc:cxnChg>
      </pc:sldChg>
      <pc:sldChg chg="del">
        <pc:chgData name="Linda Lier" userId="c5892826d897d3cd" providerId="LiveId" clId="{7068258B-AE26-41AE-BE70-95AF9FB41401}" dt="2026-01-22T23:32:34.265" v="1720" actId="47"/>
        <pc:sldMkLst>
          <pc:docMk/>
          <pc:sldMk cId="4250471575" sldId="261"/>
        </pc:sldMkLst>
      </pc:sldChg>
      <pc:sldChg chg="addSp modSp del mod">
        <pc:chgData name="Linda Lier" userId="c5892826d897d3cd" providerId="LiveId" clId="{7068258B-AE26-41AE-BE70-95AF9FB41401}" dt="2026-01-22T23:32:34.869" v="1721" actId="47"/>
        <pc:sldMkLst>
          <pc:docMk/>
          <pc:sldMk cId="917265717" sldId="262"/>
        </pc:sldMkLst>
        <pc:graphicFrameChg chg="add mod ord modVis">
          <ac:chgData name="Linda Lier" userId="c5892826d897d3cd" providerId="LiveId" clId="{7068258B-AE26-41AE-BE70-95AF9FB41401}" dt="2026-01-22T22:55:18.589" v="278"/>
          <ac:graphicFrameMkLst>
            <pc:docMk/>
            <pc:sldMk cId="917265717" sldId="262"/>
            <ac:graphicFrameMk id="5" creationId="{B0A3A6DA-198E-3F98-EEF2-D588BE8C691C}"/>
          </ac:graphicFrameMkLst>
        </pc:graphicFrameChg>
      </pc:sldChg>
      <pc:sldChg chg="del">
        <pc:chgData name="Linda Lier" userId="c5892826d897d3cd" providerId="LiveId" clId="{7068258B-AE26-41AE-BE70-95AF9FB41401}" dt="2026-01-22T23:32:35.468" v="1722" actId="47"/>
        <pc:sldMkLst>
          <pc:docMk/>
          <pc:sldMk cId="3892510528" sldId="263"/>
        </pc:sldMkLst>
      </pc:sldChg>
      <pc:sldChg chg="addSp delSp modSp mod setBg">
        <pc:chgData name="Linda Lier" userId="c5892826d897d3cd" providerId="LiveId" clId="{7068258B-AE26-41AE-BE70-95AF9FB41401}" dt="2026-01-22T23:40:07.608" v="4388"/>
        <pc:sldMkLst>
          <pc:docMk/>
          <pc:sldMk cId="2858286988" sldId="308"/>
        </pc:sldMkLst>
        <pc:spChg chg="add del mod modVis">
          <ac:chgData name="Linda Lier" userId="c5892826d897d3cd" providerId="LiveId" clId="{7068258B-AE26-41AE-BE70-95AF9FB41401}" dt="2026-01-22T22:55:18.532" v="244"/>
          <ac:spMkLst>
            <pc:docMk/>
            <pc:sldMk cId="2858286988" sldId="308"/>
            <ac:spMk id="2" creationId="{823237C0-BE0D-0A78-BA39-CC64FFA89669}"/>
          </ac:spMkLst>
        </pc:spChg>
        <pc:spChg chg="mod ord">
          <ac:chgData name="Linda Lier" userId="c5892826d897d3cd" providerId="LiveId" clId="{7068258B-AE26-41AE-BE70-95AF9FB41401}" dt="2026-01-22T23:40:07.404" v="4250" actId="299"/>
          <ac:spMkLst>
            <pc:docMk/>
            <pc:sldMk cId="2858286988" sldId="308"/>
            <ac:spMk id="4" creationId="{A508C326-E732-47A8-ACB6-93CE0A5915F1}"/>
          </ac:spMkLst>
        </pc:spChg>
        <pc:spChg chg="mod">
          <ac:chgData name="Linda Lier" userId="c5892826d897d3cd" providerId="LiveId" clId="{7068258B-AE26-41AE-BE70-95AF9FB41401}" dt="2026-01-22T23:28:45.374" v="1572"/>
          <ac:spMkLst>
            <pc:docMk/>
            <pc:sldMk cId="2858286988" sldId="308"/>
            <ac:spMk id="7" creationId="{DC5808F0-8A85-48BA-BAAA-B1B4306C69B8}"/>
          </ac:spMkLst>
        </pc:spChg>
        <pc:spChg chg="mod ord">
          <ac:chgData name="Linda Lier" userId="c5892826d897d3cd" providerId="LiveId" clId="{7068258B-AE26-41AE-BE70-95AF9FB41401}" dt="2026-01-22T23:28:45.397" v="1629"/>
          <ac:spMkLst>
            <pc:docMk/>
            <pc:sldMk cId="2858286988" sldId="308"/>
            <ac:spMk id="8" creationId="{640CF301-4A95-E7AB-E7FC-8D8C6FFACAA8}"/>
          </ac:spMkLst>
        </pc:spChg>
        <pc:spChg chg="mod topLvl">
          <ac:chgData name="Linda Lier" userId="c5892826d897d3cd" providerId="LiveId" clId="{7068258B-AE26-41AE-BE70-95AF9FB41401}" dt="2026-01-22T23:29:25.418" v="1651" actId="1035"/>
          <ac:spMkLst>
            <pc:docMk/>
            <pc:sldMk cId="2858286988" sldId="308"/>
            <ac:spMk id="10" creationId="{AD2F8E6B-A7C5-4698-9272-857398FD984C}"/>
          </ac:spMkLst>
        </pc:spChg>
        <pc:spChg chg="mod ord topLvl">
          <ac:chgData name="Linda Lier" userId="c5892826d897d3cd" providerId="LiveId" clId="{7068258B-AE26-41AE-BE70-95AF9FB41401}" dt="2026-01-22T23:29:25.418" v="1651" actId="1035"/>
          <ac:spMkLst>
            <pc:docMk/>
            <pc:sldMk cId="2858286988" sldId="308"/>
            <ac:spMk id="11" creationId="{D6A80DD2-F1DF-42DA-A2B7-A776725B0155}"/>
          </ac:spMkLst>
        </pc:spChg>
        <pc:spChg chg="mod ord">
          <ac:chgData name="Linda Lier" userId="c5892826d897d3cd" providerId="LiveId" clId="{7068258B-AE26-41AE-BE70-95AF9FB41401}" dt="2026-01-22T23:29:04.094" v="1634" actId="207"/>
          <ac:spMkLst>
            <pc:docMk/>
            <pc:sldMk cId="2858286988" sldId="308"/>
            <ac:spMk id="12" creationId="{F3E15D1F-A9FF-4AFB-B481-9D4549A7EEC0}"/>
          </ac:spMkLst>
        </pc:spChg>
        <pc:spChg chg="mod ord">
          <ac:chgData name="Linda Lier" userId="c5892826d897d3cd" providerId="LiveId" clId="{7068258B-AE26-41AE-BE70-95AF9FB41401}" dt="2026-01-22T23:29:25.418" v="1651" actId="1035"/>
          <ac:spMkLst>
            <pc:docMk/>
            <pc:sldMk cId="2858286988" sldId="308"/>
            <ac:spMk id="13" creationId="{0B75BCE8-F9C0-404B-AF2B-80EDDCD50D74}"/>
          </ac:spMkLst>
        </pc:spChg>
        <pc:spChg chg="del mod">
          <ac:chgData name="Linda Lier" userId="c5892826d897d3cd" providerId="LiveId" clId="{7068258B-AE26-41AE-BE70-95AF9FB41401}" dt="2026-01-22T23:25:50.622" v="1154" actId="478"/>
          <ac:spMkLst>
            <pc:docMk/>
            <pc:sldMk cId="2858286988" sldId="308"/>
            <ac:spMk id="14" creationId="{0B358835-0442-41F4-9DE1-ECB2F7F41C31}"/>
          </ac:spMkLst>
        </pc:spChg>
        <pc:spChg chg="mod ord">
          <ac:chgData name="Linda Lier" userId="c5892826d897d3cd" providerId="LiveId" clId="{7068258B-AE26-41AE-BE70-95AF9FB41401}" dt="2026-01-22T23:28:45.379" v="1583"/>
          <ac:spMkLst>
            <pc:docMk/>
            <pc:sldMk cId="2858286988" sldId="308"/>
            <ac:spMk id="15" creationId="{2CC9E876-8B30-427B-8DAA-96DEED035773}"/>
          </ac:spMkLst>
        </pc:spChg>
        <pc:spChg chg="del mod topLvl">
          <ac:chgData name="Linda Lier" userId="c5892826d897d3cd" providerId="LiveId" clId="{7068258B-AE26-41AE-BE70-95AF9FB41401}" dt="2026-01-22T23:25:50.622" v="1154" actId="478"/>
          <ac:spMkLst>
            <pc:docMk/>
            <pc:sldMk cId="2858286988" sldId="308"/>
            <ac:spMk id="16" creationId="{215D72FF-0530-4419-A803-77494735DA0E}"/>
          </ac:spMkLst>
        </pc:spChg>
        <pc:spChg chg="mod topLvl">
          <ac:chgData name="Linda Lier" userId="c5892826d897d3cd" providerId="LiveId" clId="{7068258B-AE26-41AE-BE70-95AF9FB41401}" dt="2026-01-22T23:29:25.418" v="1651" actId="1035"/>
          <ac:spMkLst>
            <pc:docMk/>
            <pc:sldMk cId="2858286988" sldId="308"/>
            <ac:spMk id="17" creationId="{632633F6-632C-4F20-A09F-C148C496A8EA}"/>
          </ac:spMkLst>
        </pc:spChg>
        <pc:spChg chg="mod ord topLvl">
          <ac:chgData name="Linda Lier" userId="c5892826d897d3cd" providerId="LiveId" clId="{7068258B-AE26-41AE-BE70-95AF9FB41401}" dt="2026-01-22T23:29:25.418" v="1651" actId="1035"/>
          <ac:spMkLst>
            <pc:docMk/>
            <pc:sldMk cId="2858286988" sldId="308"/>
            <ac:spMk id="18" creationId="{95630BBA-0590-4ECB-A725-520EA2DD45B2}"/>
          </ac:spMkLst>
        </pc:spChg>
        <pc:spChg chg="del mod ord">
          <ac:chgData name="Linda Lier" userId="c5892826d897d3cd" providerId="LiveId" clId="{7068258B-AE26-41AE-BE70-95AF9FB41401}" dt="2026-01-22T23:29:18.089" v="1637" actId="478"/>
          <ac:spMkLst>
            <pc:docMk/>
            <pc:sldMk cId="2858286988" sldId="308"/>
            <ac:spMk id="19" creationId="{ED9B52D7-822A-4BE4-9A67-A2D87D33EF40}"/>
          </ac:spMkLst>
        </pc:spChg>
        <pc:spChg chg="del">
          <ac:chgData name="Linda Lier" userId="c5892826d897d3cd" providerId="LiveId" clId="{7068258B-AE26-41AE-BE70-95AF9FB41401}" dt="2026-01-22T23:25:50.622" v="1154" actId="478"/>
          <ac:spMkLst>
            <pc:docMk/>
            <pc:sldMk cId="2858286988" sldId="308"/>
            <ac:spMk id="20" creationId="{A22E78FB-564F-4924-825A-C6902A618090}"/>
          </ac:spMkLst>
        </pc:spChg>
        <pc:spChg chg="del mod topLvl">
          <ac:chgData name="Linda Lier" userId="c5892826d897d3cd" providerId="LiveId" clId="{7068258B-AE26-41AE-BE70-95AF9FB41401}" dt="2026-01-22T23:25:48.995" v="1153"/>
          <ac:spMkLst>
            <pc:docMk/>
            <pc:sldMk cId="2858286988" sldId="308"/>
            <ac:spMk id="21" creationId="{3E1D17AD-4A8B-4D28-BDA6-CD4E5E740D07}"/>
          </ac:spMkLst>
        </pc:spChg>
        <pc:spChg chg="mod">
          <ac:chgData name="Linda Lier" userId="c5892826d897d3cd" providerId="LiveId" clId="{7068258B-AE26-41AE-BE70-95AF9FB41401}" dt="2026-01-22T23:29:25.418" v="1651" actId="1035"/>
          <ac:spMkLst>
            <pc:docMk/>
            <pc:sldMk cId="2858286988" sldId="308"/>
            <ac:spMk id="22" creationId="{194EBCA7-9717-4C7E-91D1-875258779F55}"/>
          </ac:spMkLst>
        </pc:spChg>
        <pc:spChg chg="mod">
          <ac:chgData name="Linda Lier" userId="c5892826d897d3cd" providerId="LiveId" clId="{7068258B-AE26-41AE-BE70-95AF9FB41401}" dt="2026-01-22T23:28:45.382" v="1590"/>
          <ac:spMkLst>
            <pc:docMk/>
            <pc:sldMk cId="2858286988" sldId="308"/>
            <ac:spMk id="23" creationId="{39E0EC2C-BCF6-40F3-AF2A-2AE554D214D4}"/>
          </ac:spMkLst>
        </pc:spChg>
        <pc:spChg chg="mod topLvl">
          <ac:chgData name="Linda Lier" userId="c5892826d897d3cd" providerId="LiveId" clId="{7068258B-AE26-41AE-BE70-95AF9FB41401}" dt="2026-01-22T23:29:25.418" v="1651" actId="1035"/>
          <ac:spMkLst>
            <pc:docMk/>
            <pc:sldMk cId="2858286988" sldId="308"/>
            <ac:spMk id="24" creationId="{5DF674E1-6105-4275-A5A8-286262D0E127}"/>
          </ac:spMkLst>
        </pc:spChg>
        <pc:spChg chg="mod topLvl">
          <ac:chgData name="Linda Lier" userId="c5892826d897d3cd" providerId="LiveId" clId="{7068258B-AE26-41AE-BE70-95AF9FB41401}" dt="2026-01-22T23:29:25.418" v="1651" actId="1035"/>
          <ac:spMkLst>
            <pc:docMk/>
            <pc:sldMk cId="2858286988" sldId="308"/>
            <ac:spMk id="25" creationId="{9903D3A4-FABE-471B-9FF5-AC51A3307E57}"/>
          </ac:spMkLst>
        </pc:spChg>
        <pc:spChg chg="mod topLvl">
          <ac:chgData name="Linda Lier" userId="c5892826d897d3cd" providerId="LiveId" clId="{7068258B-AE26-41AE-BE70-95AF9FB41401}" dt="2026-01-22T23:29:25.418" v="1651" actId="1035"/>
          <ac:spMkLst>
            <pc:docMk/>
            <pc:sldMk cId="2858286988" sldId="308"/>
            <ac:spMk id="26" creationId="{B8F14A69-7960-42B2-867A-CE1E8C472220}"/>
          </ac:spMkLst>
        </pc:spChg>
        <pc:spChg chg="mod topLvl">
          <ac:chgData name="Linda Lier" userId="c5892826d897d3cd" providerId="LiveId" clId="{7068258B-AE26-41AE-BE70-95AF9FB41401}" dt="2026-01-22T23:29:25.418" v="1651" actId="1035"/>
          <ac:spMkLst>
            <pc:docMk/>
            <pc:sldMk cId="2858286988" sldId="308"/>
            <ac:spMk id="27" creationId="{298A26D8-73EC-4E23-A2F2-4CEA96D3A356}"/>
          </ac:spMkLst>
        </pc:spChg>
        <pc:spChg chg="mod">
          <ac:chgData name="Linda Lier" userId="c5892826d897d3cd" providerId="LiveId" clId="{7068258B-AE26-41AE-BE70-95AF9FB41401}" dt="2026-01-22T23:28:45.384" v="1595"/>
          <ac:spMkLst>
            <pc:docMk/>
            <pc:sldMk cId="2858286988" sldId="308"/>
            <ac:spMk id="28" creationId="{03A0104A-1B11-46E5-93CB-A59E9DFFA083}"/>
          </ac:spMkLst>
        </pc:spChg>
        <pc:spChg chg="del mod">
          <ac:chgData name="Linda Lier" userId="c5892826d897d3cd" providerId="LiveId" clId="{7068258B-AE26-41AE-BE70-95AF9FB41401}" dt="2026-01-22T23:29:18.089" v="1637" actId="478"/>
          <ac:spMkLst>
            <pc:docMk/>
            <pc:sldMk cId="2858286988" sldId="308"/>
            <ac:spMk id="29" creationId="{E78EBB86-8088-476D-B010-6D9C5573F36A}"/>
          </ac:spMkLst>
        </pc:spChg>
        <pc:spChg chg="add del mod">
          <ac:chgData name="Linda Lier" userId="c5892826d897d3cd" providerId="LiveId" clId="{7068258B-AE26-41AE-BE70-95AF9FB41401}" dt="2026-01-22T23:25:23.905" v="1086"/>
          <ac:spMkLst>
            <pc:docMk/>
            <pc:sldMk cId="2858286988" sldId="308"/>
            <ac:spMk id="31" creationId="{4C1F3293-4EFE-461D-940D-7EE66BAE31C5}"/>
          </ac:spMkLst>
        </pc:spChg>
        <pc:spChg chg="add del mod modVis">
          <ac:chgData name="Linda Lier" userId="c5892826d897d3cd" providerId="LiveId" clId="{7068258B-AE26-41AE-BE70-95AF9FB41401}" dt="2026-01-22T23:25:18.937" v="1073"/>
          <ac:spMkLst>
            <pc:docMk/>
            <pc:sldMk cId="2858286988" sldId="308"/>
            <ac:spMk id="32" creationId="{C00067A3-7AFF-1575-00A9-A90FA43704FF}"/>
          </ac:spMkLst>
        </pc:spChg>
        <pc:spChg chg="mod ord">
          <ac:chgData name="Linda Lier" userId="c5892826d897d3cd" providerId="LiveId" clId="{7068258B-AE26-41AE-BE70-95AF9FB41401}" dt="2026-01-22T23:28:45.385" v="1598"/>
          <ac:spMkLst>
            <pc:docMk/>
            <pc:sldMk cId="2858286988" sldId="308"/>
            <ac:spMk id="34" creationId="{87924EA7-B442-400C-A79D-B5FC6C84D979}"/>
          </ac:spMkLst>
        </pc:spChg>
        <pc:spChg chg="mod">
          <ac:chgData name="Linda Lier" userId="c5892826d897d3cd" providerId="LiveId" clId="{7068258B-AE26-41AE-BE70-95AF9FB41401}" dt="2026-01-22T23:24:34.402" v="925" actId="1035"/>
          <ac:spMkLst>
            <pc:docMk/>
            <pc:sldMk cId="2858286988" sldId="308"/>
            <ac:spMk id="37" creationId="{FC224C60-6084-4046-B9B1-6201B6B808B2}"/>
          </ac:spMkLst>
        </pc:spChg>
        <pc:spChg chg="mod">
          <ac:chgData name="Linda Lier" userId="c5892826d897d3cd" providerId="LiveId" clId="{7068258B-AE26-41AE-BE70-95AF9FB41401}" dt="2026-01-22T23:24:34.402" v="925" actId="1035"/>
          <ac:spMkLst>
            <pc:docMk/>
            <pc:sldMk cId="2858286988" sldId="308"/>
            <ac:spMk id="38" creationId="{2CD81A4B-AA4D-442A-B903-8D39B00B7CEB}"/>
          </ac:spMkLst>
        </pc:spChg>
        <pc:spChg chg="mod">
          <ac:chgData name="Linda Lier" userId="c5892826d897d3cd" providerId="LiveId" clId="{7068258B-AE26-41AE-BE70-95AF9FB41401}" dt="2026-01-22T23:24:43.048" v="928" actId="208"/>
          <ac:spMkLst>
            <pc:docMk/>
            <pc:sldMk cId="2858286988" sldId="308"/>
            <ac:spMk id="39" creationId="{01732449-308B-4969-A03F-C45AD6A6B9EF}"/>
          </ac:spMkLst>
        </pc:spChg>
        <pc:spChg chg="mod">
          <ac:chgData name="Linda Lier" userId="c5892826d897d3cd" providerId="LiveId" clId="{7068258B-AE26-41AE-BE70-95AF9FB41401}" dt="2026-01-22T23:24:40.649" v="927" actId="208"/>
          <ac:spMkLst>
            <pc:docMk/>
            <pc:sldMk cId="2858286988" sldId="308"/>
            <ac:spMk id="40" creationId="{11C65CFB-98E1-4CED-960C-16BDD0F8D734}"/>
          </ac:spMkLst>
        </pc:spChg>
        <pc:spChg chg="mod">
          <ac:chgData name="Linda Lier" userId="c5892826d897d3cd" providerId="LiveId" clId="{7068258B-AE26-41AE-BE70-95AF9FB41401}" dt="2026-01-22T23:24:37.764" v="926" actId="208"/>
          <ac:spMkLst>
            <pc:docMk/>
            <pc:sldMk cId="2858286988" sldId="308"/>
            <ac:spMk id="41" creationId="{D79AD05B-3D2D-4233-83D2-B6BD3BC3F938}"/>
          </ac:spMkLst>
        </pc:spChg>
        <pc:spChg chg="mod">
          <ac:chgData name="Linda Lier" userId="c5892826d897d3cd" providerId="LiveId" clId="{7068258B-AE26-41AE-BE70-95AF9FB41401}" dt="2026-01-22T23:28:45.386" v="1601"/>
          <ac:spMkLst>
            <pc:docMk/>
            <pc:sldMk cId="2858286988" sldId="308"/>
            <ac:spMk id="42" creationId="{2C6C6A5F-B542-40E7-AFB5-C73D32EE1CE2}"/>
          </ac:spMkLst>
        </pc:spChg>
        <pc:spChg chg="mod ord topLvl">
          <ac:chgData name="Linda Lier" userId="c5892826d897d3cd" providerId="LiveId" clId="{7068258B-AE26-41AE-BE70-95AF9FB41401}" dt="2026-01-22T23:28:45.386" v="1603"/>
          <ac:spMkLst>
            <pc:docMk/>
            <pc:sldMk cId="2858286988" sldId="308"/>
            <ac:spMk id="44" creationId="{4FE5ED1D-E6F5-4547-BA81-E24C10A36D8D}"/>
          </ac:spMkLst>
        </pc:spChg>
        <pc:spChg chg="mod ord topLvl">
          <ac:chgData name="Linda Lier" userId="c5892826d897d3cd" providerId="LiveId" clId="{7068258B-AE26-41AE-BE70-95AF9FB41401}" dt="2026-01-22T23:28:45.387" v="1605"/>
          <ac:spMkLst>
            <pc:docMk/>
            <pc:sldMk cId="2858286988" sldId="308"/>
            <ac:spMk id="45" creationId="{BE0F145D-07B2-423D-AE12-353F47749BB2}"/>
          </ac:spMkLst>
        </pc:spChg>
        <pc:spChg chg="mod ord">
          <ac:chgData name="Linda Lier" userId="c5892826d897d3cd" providerId="LiveId" clId="{7068258B-AE26-41AE-BE70-95AF9FB41401}" dt="2026-01-22T23:28:45.388" v="1607"/>
          <ac:spMkLst>
            <pc:docMk/>
            <pc:sldMk cId="2858286988" sldId="308"/>
            <ac:spMk id="46" creationId="{59B011CD-6EDB-4018-B677-466B91330857}"/>
          </ac:spMkLst>
        </pc:spChg>
        <pc:spChg chg="mod ord topLvl">
          <ac:chgData name="Linda Lier" userId="c5892826d897d3cd" providerId="LiveId" clId="{7068258B-AE26-41AE-BE70-95AF9FB41401}" dt="2026-01-22T23:28:45.388" v="1609"/>
          <ac:spMkLst>
            <pc:docMk/>
            <pc:sldMk cId="2858286988" sldId="308"/>
            <ac:spMk id="47" creationId="{2CBF9734-FE33-4D13-A2D9-10F849E709F7}"/>
          </ac:spMkLst>
        </pc:spChg>
        <pc:spChg chg="mod ord topLvl">
          <ac:chgData name="Linda Lier" userId="c5892826d897d3cd" providerId="LiveId" clId="{7068258B-AE26-41AE-BE70-95AF9FB41401}" dt="2026-01-22T23:28:45.389" v="1611"/>
          <ac:spMkLst>
            <pc:docMk/>
            <pc:sldMk cId="2858286988" sldId="308"/>
            <ac:spMk id="48" creationId="{48D99E22-EB2D-4D01-9644-7F4CA74C5DC6}"/>
          </ac:spMkLst>
        </pc:spChg>
        <pc:spChg chg="mod">
          <ac:chgData name="Linda Lier" userId="c5892826d897d3cd" providerId="LiveId" clId="{7068258B-AE26-41AE-BE70-95AF9FB41401}" dt="2026-01-22T23:27:11.398" v="1396" actId="165"/>
          <ac:spMkLst>
            <pc:docMk/>
            <pc:sldMk cId="2858286988" sldId="308"/>
            <ac:spMk id="56" creationId="{7CEA38C1-6AB9-4B23-9CAD-4399C59E4B41}"/>
          </ac:spMkLst>
        </pc:spChg>
        <pc:spChg chg="mod">
          <ac:chgData name="Linda Lier" userId="c5892826d897d3cd" providerId="LiveId" clId="{7068258B-AE26-41AE-BE70-95AF9FB41401}" dt="2026-01-22T23:27:11.398" v="1396" actId="165"/>
          <ac:spMkLst>
            <pc:docMk/>
            <pc:sldMk cId="2858286988" sldId="308"/>
            <ac:spMk id="57" creationId="{DD12C660-38BB-4D51-BEAD-59139A4E1F3C}"/>
          </ac:spMkLst>
        </pc:spChg>
        <pc:spChg chg="mod">
          <ac:chgData name="Linda Lier" userId="c5892826d897d3cd" providerId="LiveId" clId="{7068258B-AE26-41AE-BE70-95AF9FB41401}" dt="2026-01-22T23:27:11.398" v="1396" actId="165"/>
          <ac:spMkLst>
            <pc:docMk/>
            <pc:sldMk cId="2858286988" sldId="308"/>
            <ac:spMk id="58" creationId="{0646E110-506A-41B1-9998-824EA6F27B35}"/>
          </ac:spMkLst>
        </pc:spChg>
        <pc:spChg chg="mod">
          <ac:chgData name="Linda Lier" userId="c5892826d897d3cd" providerId="LiveId" clId="{7068258B-AE26-41AE-BE70-95AF9FB41401}" dt="2026-01-22T23:27:11.398" v="1396" actId="165"/>
          <ac:spMkLst>
            <pc:docMk/>
            <pc:sldMk cId="2858286988" sldId="308"/>
            <ac:spMk id="60" creationId="{FDEA5C32-D5F7-4AF4-8BCA-243ADEC13EC3}"/>
          </ac:spMkLst>
        </pc:spChg>
        <pc:spChg chg="mod">
          <ac:chgData name="Linda Lier" userId="c5892826d897d3cd" providerId="LiveId" clId="{7068258B-AE26-41AE-BE70-95AF9FB41401}" dt="2026-01-22T23:24:34.402" v="925" actId="1035"/>
          <ac:spMkLst>
            <pc:docMk/>
            <pc:sldMk cId="2858286988" sldId="308"/>
            <ac:spMk id="61" creationId="{F9A52319-6D1F-4EDB-91B1-A0230557DF38}"/>
          </ac:spMkLst>
        </pc:spChg>
        <pc:spChg chg="mod">
          <ac:chgData name="Linda Lier" userId="c5892826d897d3cd" providerId="LiveId" clId="{7068258B-AE26-41AE-BE70-95AF9FB41401}" dt="2026-01-22T23:27:11.398" v="1396" actId="165"/>
          <ac:spMkLst>
            <pc:docMk/>
            <pc:sldMk cId="2858286988" sldId="308"/>
            <ac:spMk id="62" creationId="{3B043285-EE2D-4633-B8D3-1A91CEA9FA14}"/>
          </ac:spMkLst>
        </pc:spChg>
        <pc:spChg chg="mod">
          <ac:chgData name="Linda Lier" userId="c5892826d897d3cd" providerId="LiveId" clId="{7068258B-AE26-41AE-BE70-95AF9FB41401}" dt="2026-01-22T23:27:11.398" v="1396" actId="165"/>
          <ac:spMkLst>
            <pc:docMk/>
            <pc:sldMk cId="2858286988" sldId="308"/>
            <ac:spMk id="63" creationId="{97BCE0CB-BAB4-457C-97C9-3EF2A8E59E4B}"/>
          </ac:spMkLst>
        </pc:spChg>
        <pc:spChg chg="mod">
          <ac:chgData name="Linda Lier" userId="c5892826d897d3cd" providerId="LiveId" clId="{7068258B-AE26-41AE-BE70-95AF9FB41401}" dt="2026-01-22T23:28:45.395" v="1622"/>
          <ac:spMkLst>
            <pc:docMk/>
            <pc:sldMk cId="2858286988" sldId="308"/>
            <ac:spMk id="65" creationId="{FC6F0976-85A4-42F1-A768-C664A1194B1E}"/>
          </ac:spMkLst>
        </pc:spChg>
        <pc:spChg chg="mod">
          <ac:chgData name="Linda Lier" userId="c5892826d897d3cd" providerId="LiveId" clId="{7068258B-AE26-41AE-BE70-95AF9FB41401}" dt="2026-01-22T23:24:34.402" v="925" actId="1035"/>
          <ac:spMkLst>
            <pc:docMk/>
            <pc:sldMk cId="2858286988" sldId="308"/>
            <ac:spMk id="67" creationId="{A5F8305E-D282-4960-A1DA-8B711AEDE07F}"/>
          </ac:spMkLst>
        </pc:spChg>
        <pc:spChg chg="mod">
          <ac:chgData name="Linda Lier" userId="c5892826d897d3cd" providerId="LiveId" clId="{7068258B-AE26-41AE-BE70-95AF9FB41401}" dt="2026-01-22T23:24:34.402" v="925" actId="1035"/>
          <ac:spMkLst>
            <pc:docMk/>
            <pc:sldMk cId="2858286988" sldId="308"/>
            <ac:spMk id="70" creationId="{0A39A58C-0280-4CFB-8D3D-1AF0560BB2C9}"/>
          </ac:spMkLst>
        </pc:spChg>
        <pc:spChg chg="mod">
          <ac:chgData name="Linda Lier" userId="c5892826d897d3cd" providerId="LiveId" clId="{7068258B-AE26-41AE-BE70-95AF9FB41401}" dt="2026-01-22T23:24:34.402" v="925" actId="1035"/>
          <ac:spMkLst>
            <pc:docMk/>
            <pc:sldMk cId="2858286988" sldId="308"/>
            <ac:spMk id="75" creationId="{69E64E7E-8B21-4325-AEB1-E4CDED9C8A9E}"/>
          </ac:spMkLst>
        </pc:spChg>
        <pc:spChg chg="mod">
          <ac:chgData name="Linda Lier" userId="c5892826d897d3cd" providerId="LiveId" clId="{7068258B-AE26-41AE-BE70-95AF9FB41401}" dt="2026-01-22T23:24:34.402" v="925" actId="1035"/>
          <ac:spMkLst>
            <pc:docMk/>
            <pc:sldMk cId="2858286988" sldId="308"/>
            <ac:spMk id="76" creationId="{F520E57C-4380-4565-8294-67FEA95B2F97}"/>
          </ac:spMkLst>
        </pc:spChg>
        <pc:spChg chg="mod">
          <ac:chgData name="Linda Lier" userId="c5892826d897d3cd" providerId="LiveId" clId="{7068258B-AE26-41AE-BE70-95AF9FB41401}" dt="2026-01-22T23:28:45.396" v="1625"/>
          <ac:spMkLst>
            <pc:docMk/>
            <pc:sldMk cId="2858286988" sldId="308"/>
            <ac:spMk id="77" creationId="{1A5767A0-D7B7-4BA7-9636-FF2BE885204B}"/>
          </ac:spMkLst>
        </pc:spChg>
        <pc:spChg chg="mod ord">
          <ac:chgData name="Linda Lier" userId="c5892826d897d3cd" providerId="LiveId" clId="{7068258B-AE26-41AE-BE70-95AF9FB41401}" dt="2026-01-22T23:28:45.397" v="1627"/>
          <ac:spMkLst>
            <pc:docMk/>
            <pc:sldMk cId="2858286988" sldId="308"/>
            <ac:spMk id="79" creationId="{D11BCD0A-4016-4832-889B-296F29547C34}"/>
          </ac:spMkLst>
        </pc:spChg>
        <pc:spChg chg="add del mod">
          <ac:chgData name="Linda Lier" userId="c5892826d897d3cd" providerId="LiveId" clId="{7068258B-AE26-41AE-BE70-95AF9FB41401}" dt="2026-01-22T23:26:05.732" v="1264"/>
          <ac:spMkLst>
            <pc:docMk/>
            <pc:sldMk cId="2858286988" sldId="308"/>
            <ac:spMk id="81" creationId="{4C1F3293-4EFE-461D-940D-7EE66BAE31C5}"/>
          </ac:spMkLst>
        </pc:spChg>
        <pc:spChg chg="add del mod">
          <ac:chgData name="Linda Lier" userId="c5892826d897d3cd" providerId="LiveId" clId="{7068258B-AE26-41AE-BE70-95AF9FB41401}" dt="2026-01-22T23:28:45.352" v="1562"/>
          <ac:spMkLst>
            <pc:docMk/>
            <pc:sldMk cId="2858286988" sldId="308"/>
            <ac:spMk id="85" creationId="{4C1F3293-4EFE-461D-940D-7EE66BAE31C5}"/>
          </ac:spMkLst>
        </pc:spChg>
        <pc:grpChg chg="mod">
          <ac:chgData name="Linda Lier" userId="c5892826d897d3cd" providerId="LiveId" clId="{7068258B-AE26-41AE-BE70-95AF9FB41401}" dt="2026-01-22T23:25:26.041" v="1128"/>
          <ac:grpSpMkLst>
            <pc:docMk/>
            <pc:sldMk cId="2858286988" sldId="308"/>
            <ac:grpSpMk id="9" creationId="{A54ED3A6-7EB5-41CD-BBA5-CA67DC5CD1E8}"/>
          </ac:grpSpMkLst>
        </pc:grpChg>
        <pc:grpChg chg="mod ord">
          <ac:chgData name="Linda Lier" userId="c5892826d897d3cd" providerId="LiveId" clId="{7068258B-AE26-41AE-BE70-95AF9FB41401}" dt="2026-01-22T23:28:45.385" v="1600"/>
          <ac:grpSpMkLst>
            <pc:docMk/>
            <pc:sldMk cId="2858286988" sldId="308"/>
            <ac:grpSpMk id="35" creationId="{D2867A6A-E0D8-41C8-9F3D-51E28FFF3E53}"/>
          </ac:grpSpMkLst>
        </pc:grpChg>
        <pc:grpChg chg="mod">
          <ac:chgData name="Linda Lier" userId="c5892826d897d3cd" providerId="LiveId" clId="{7068258B-AE26-41AE-BE70-95AF9FB41401}" dt="2026-01-22T23:26:10.221" v="1354"/>
          <ac:grpSpMkLst>
            <pc:docMk/>
            <pc:sldMk cId="2858286988" sldId="308"/>
            <ac:grpSpMk id="43" creationId="{E8B44F8B-C2CE-445F-9E5C-8D2C9B8474FC}"/>
          </ac:grpSpMkLst>
        </pc:grpChg>
        <pc:grpChg chg="mod ord">
          <ac:chgData name="Linda Lier" userId="c5892826d897d3cd" providerId="LiveId" clId="{7068258B-AE26-41AE-BE70-95AF9FB41401}" dt="2026-01-22T23:28:45.390" v="1613"/>
          <ac:grpSpMkLst>
            <pc:docMk/>
            <pc:sldMk cId="2858286988" sldId="308"/>
            <ac:grpSpMk id="49" creationId="{40AAC918-2F64-42C8-B16A-1DE8BD6CED63}"/>
          </ac:grpSpMkLst>
        </pc:grpChg>
        <pc:grpChg chg="mod ord">
          <ac:chgData name="Linda Lier" userId="c5892826d897d3cd" providerId="LiveId" clId="{7068258B-AE26-41AE-BE70-95AF9FB41401}" dt="2026-01-22T23:28:45.390" v="1615"/>
          <ac:grpSpMkLst>
            <pc:docMk/>
            <pc:sldMk cId="2858286988" sldId="308"/>
            <ac:grpSpMk id="50" creationId="{5501D544-26EB-4FDC-9C6D-63AB1150B3AA}"/>
          </ac:grpSpMkLst>
        </pc:grpChg>
        <pc:grpChg chg="mod ord">
          <ac:chgData name="Linda Lier" userId="c5892826d897d3cd" providerId="LiveId" clId="{7068258B-AE26-41AE-BE70-95AF9FB41401}" dt="2026-01-22T23:28:45.391" v="1617"/>
          <ac:grpSpMkLst>
            <pc:docMk/>
            <pc:sldMk cId="2858286988" sldId="308"/>
            <ac:grpSpMk id="51" creationId="{C80C2942-898A-40CF-A37F-DD99DD38C973}"/>
          </ac:grpSpMkLst>
        </pc:grpChg>
        <pc:grpChg chg="mod ord">
          <ac:chgData name="Linda Lier" userId="c5892826d897d3cd" providerId="LiveId" clId="{7068258B-AE26-41AE-BE70-95AF9FB41401}" dt="2026-01-22T23:28:45.392" v="1619"/>
          <ac:grpSpMkLst>
            <pc:docMk/>
            <pc:sldMk cId="2858286988" sldId="308"/>
            <ac:grpSpMk id="52" creationId="{527F9CEB-46DF-472F-8010-860FAC05D07C}"/>
          </ac:grpSpMkLst>
        </pc:grpChg>
        <pc:grpChg chg="mod ord">
          <ac:chgData name="Linda Lier" userId="c5892826d897d3cd" providerId="LiveId" clId="{7068258B-AE26-41AE-BE70-95AF9FB41401}" dt="2026-01-22T23:28:45.394" v="1621"/>
          <ac:grpSpMkLst>
            <pc:docMk/>
            <pc:sldMk cId="2858286988" sldId="308"/>
            <ac:grpSpMk id="53" creationId="{E4E1FEBE-A58F-4C87-B8CD-2775F4C5E18F}"/>
          </ac:grpSpMkLst>
        </pc:grpChg>
        <pc:grpChg chg="mod ord">
          <ac:chgData name="Linda Lier" userId="c5892826d897d3cd" providerId="LiveId" clId="{7068258B-AE26-41AE-BE70-95AF9FB41401}" dt="2026-01-22T23:28:45.396" v="1624"/>
          <ac:grpSpMkLst>
            <pc:docMk/>
            <pc:sldMk cId="2858286988" sldId="308"/>
            <ac:grpSpMk id="66" creationId="{88B54CD5-5BD5-494F-9477-B9A08DCAAF8B}"/>
          </ac:grpSpMkLst>
        </pc:grpChg>
        <pc:graphicFrameChg chg="add del mod ord">
          <ac:chgData name="Linda Lier" userId="c5892826d897d3cd" providerId="LiveId" clId="{7068258B-AE26-41AE-BE70-95AF9FB41401}" dt="2026-01-22T22:58:22.261" v="436"/>
          <ac:graphicFrameMkLst>
            <pc:docMk/>
            <pc:sldMk cId="2858286988" sldId="308"/>
            <ac:graphicFrameMk id="3" creationId="{93473431-9FA0-2C5D-AD2A-FC1DF9016F2A}"/>
          </ac:graphicFrameMkLst>
        </pc:graphicFrameChg>
        <pc:graphicFrameChg chg="add del mod ord">
          <ac:chgData name="Linda Lier" userId="c5892826d897d3cd" providerId="LiveId" clId="{7068258B-AE26-41AE-BE70-95AF9FB41401}" dt="2026-01-22T23:25:08.711" v="943"/>
          <ac:graphicFrameMkLst>
            <pc:docMk/>
            <pc:sldMk cId="2858286988" sldId="308"/>
            <ac:graphicFrameMk id="5" creationId="{B1C43C9B-8FDD-C04C-75B1-DAF084CE6EF2}"/>
          </ac:graphicFrameMkLst>
        </pc:graphicFrameChg>
        <pc:graphicFrameChg chg="mod">
          <ac:chgData name="Linda Lier" userId="c5892826d897d3cd" providerId="LiveId" clId="{7068258B-AE26-41AE-BE70-95AF9FB41401}" dt="2026-01-22T23:40:07.608" v="4388"/>
          <ac:graphicFrameMkLst>
            <pc:docMk/>
            <pc:sldMk cId="2858286988" sldId="308"/>
            <ac:graphicFrameMk id="6" creationId="{F11E48E0-4085-46E3-82D9-16FD8DCDEFCC}"/>
          </ac:graphicFrameMkLst>
        </pc:graphicFrameChg>
        <pc:graphicFrameChg chg="add del mod ord">
          <ac:chgData name="Linda Lier" userId="c5892826d897d3cd" providerId="LiveId" clId="{7068258B-AE26-41AE-BE70-95AF9FB41401}" dt="2026-01-22T23:25:18.910" v="1045"/>
          <ac:graphicFrameMkLst>
            <pc:docMk/>
            <pc:sldMk cId="2858286988" sldId="308"/>
            <ac:graphicFrameMk id="30" creationId="{ACE82C12-0304-A5A5-C809-D8623473048C}"/>
          </ac:graphicFrameMkLst>
        </pc:graphicFrameChg>
        <pc:graphicFrameChg chg="add del mod ord">
          <ac:chgData name="Linda Lier" userId="c5892826d897d3cd" providerId="LiveId" clId="{7068258B-AE26-41AE-BE70-95AF9FB41401}" dt="2026-01-22T23:25:23.907" v="1088"/>
          <ac:graphicFrameMkLst>
            <pc:docMk/>
            <pc:sldMk cId="2858286988" sldId="308"/>
            <ac:graphicFrameMk id="33" creationId="{FFE8F152-8A84-B045-4D10-BFBDB4EE12F3}"/>
          </ac:graphicFrameMkLst>
        </pc:graphicFrameChg>
        <pc:graphicFrameChg chg="add del mod ord">
          <ac:chgData name="Linda Lier" userId="c5892826d897d3cd" providerId="LiveId" clId="{7068258B-AE26-41AE-BE70-95AF9FB41401}" dt="2026-01-22T23:25:26.021" v="1117"/>
          <ac:graphicFrameMkLst>
            <pc:docMk/>
            <pc:sldMk cId="2858286988" sldId="308"/>
            <ac:graphicFrameMk id="64" creationId="{FC72E50A-2D9E-D108-5C26-73413F22ABDF}"/>
          </ac:graphicFrameMkLst>
        </pc:graphicFrameChg>
        <pc:graphicFrameChg chg="del">
          <ac:chgData name="Linda Lier" userId="c5892826d897d3cd" providerId="LiveId" clId="{7068258B-AE26-41AE-BE70-95AF9FB41401}" dt="2026-01-22T22:55:18.475" v="190"/>
          <ac:graphicFrameMkLst>
            <pc:docMk/>
            <pc:sldMk cId="2858286988" sldId="308"/>
            <ac:graphicFrameMk id="78" creationId="{79D66643-6F69-C451-3DCE-F7F587820153}"/>
          </ac:graphicFrameMkLst>
        </pc:graphicFrameChg>
        <pc:graphicFrameChg chg="add del mod ord">
          <ac:chgData name="Linda Lier" userId="c5892826d897d3cd" providerId="LiveId" clId="{7068258B-AE26-41AE-BE70-95AF9FB41401}" dt="2026-01-22T23:26:04.180" v="1214"/>
          <ac:graphicFrameMkLst>
            <pc:docMk/>
            <pc:sldMk cId="2858286988" sldId="308"/>
            <ac:graphicFrameMk id="80" creationId="{80A18950-B706-026C-181C-83D863A99BD6}"/>
          </ac:graphicFrameMkLst>
        </pc:graphicFrameChg>
        <pc:graphicFrameChg chg="add del mod ord">
          <ac:chgData name="Linda Lier" userId="c5892826d897d3cd" providerId="LiveId" clId="{7068258B-AE26-41AE-BE70-95AF9FB41401}" dt="2026-01-22T23:26:05.736" v="1266"/>
          <ac:graphicFrameMkLst>
            <pc:docMk/>
            <pc:sldMk cId="2858286988" sldId="308"/>
            <ac:graphicFrameMk id="82" creationId="{717E3BA9-9C80-34F5-E9BE-23BE5672155D}"/>
          </ac:graphicFrameMkLst>
        </pc:graphicFrameChg>
        <pc:graphicFrameChg chg="add del mod ord">
          <ac:chgData name="Linda Lier" userId="c5892826d897d3cd" providerId="LiveId" clId="{7068258B-AE26-41AE-BE70-95AF9FB41401}" dt="2026-01-22T23:26:10.190" v="1316"/>
          <ac:graphicFrameMkLst>
            <pc:docMk/>
            <pc:sldMk cId="2858286988" sldId="308"/>
            <ac:graphicFrameMk id="83" creationId="{DA47D3B6-134E-B157-C2E1-6C083A74DEDB}"/>
          </ac:graphicFrameMkLst>
        </pc:graphicFrameChg>
        <pc:graphicFrameChg chg="add del mod ord">
          <ac:chgData name="Linda Lier" userId="c5892826d897d3cd" providerId="LiveId" clId="{7068258B-AE26-41AE-BE70-95AF9FB41401}" dt="2026-01-22T23:28:41.033" v="1485"/>
          <ac:graphicFrameMkLst>
            <pc:docMk/>
            <pc:sldMk cId="2858286988" sldId="308"/>
            <ac:graphicFrameMk id="84" creationId="{F48FED94-D427-787C-477A-B63BE74548A1}"/>
          </ac:graphicFrameMkLst>
        </pc:graphicFrameChg>
        <pc:graphicFrameChg chg="add del mod ord">
          <ac:chgData name="Linda Lier" userId="c5892826d897d3cd" providerId="LiveId" clId="{7068258B-AE26-41AE-BE70-95AF9FB41401}" dt="2026-01-22T23:28:45.354" v="1564"/>
          <ac:graphicFrameMkLst>
            <pc:docMk/>
            <pc:sldMk cId="2858286988" sldId="308"/>
            <ac:graphicFrameMk id="86" creationId="{9F79BF78-7D73-528F-D1BB-B46B6B429991}"/>
          </ac:graphicFrameMkLst>
        </pc:graphicFrameChg>
        <pc:graphicFrameChg chg="add mod ord">
          <ac:chgData name="Linda Lier" userId="c5892826d897d3cd" providerId="LiveId" clId="{7068258B-AE26-41AE-BE70-95AF9FB41401}" dt="2026-01-22T23:28:45.374" v="1574"/>
          <ac:graphicFrameMkLst>
            <pc:docMk/>
            <pc:sldMk cId="2858286988" sldId="308"/>
            <ac:graphicFrameMk id="87" creationId="{B8E54E83-3B04-FCCB-21E7-5E312A46064D}"/>
          </ac:graphicFrameMkLst>
        </pc:graphicFrameChg>
      </pc:sldChg>
      <pc:sldChg chg="addSp delSp modSp del mod">
        <pc:chgData name="Linda Lier" userId="c5892826d897d3cd" providerId="LiveId" clId="{7068258B-AE26-41AE-BE70-95AF9FB41401}" dt="2026-01-22T23:32:33.108" v="1718" actId="47"/>
        <pc:sldMkLst>
          <pc:docMk/>
          <pc:sldMk cId="3712787437" sldId="309"/>
        </pc:sldMkLst>
        <pc:spChg chg="add del mod modVis">
          <ac:chgData name="Linda Lier" userId="c5892826d897d3cd" providerId="LiveId" clId="{7068258B-AE26-41AE-BE70-95AF9FB41401}" dt="2026-01-22T22:55:18.572" v="262"/>
          <ac:spMkLst>
            <pc:docMk/>
            <pc:sldMk cId="3712787437" sldId="309"/>
            <ac:spMk id="2" creationId="{B196EBB7-703E-3B20-AD6E-CF2B1B695769}"/>
          </ac:spMkLst>
        </pc:spChg>
        <pc:spChg chg="mod ord">
          <ac:chgData name="Linda Lier" userId="c5892826d897d3cd" providerId="LiveId" clId="{7068258B-AE26-41AE-BE70-95AF9FB41401}" dt="2026-01-22T23:02:55.627" v="546"/>
          <ac:spMkLst>
            <pc:docMk/>
            <pc:sldMk cId="3712787437" sldId="309"/>
            <ac:spMk id="4" creationId="{5FBA5D92-2798-205F-9ED0-21010082CFEC}"/>
          </ac:spMkLst>
        </pc:spChg>
        <pc:spChg chg="mod">
          <ac:chgData name="Linda Lier" userId="c5892826d897d3cd" providerId="LiveId" clId="{7068258B-AE26-41AE-BE70-95AF9FB41401}" dt="2026-01-22T23:02:55.626" v="543"/>
          <ac:spMkLst>
            <pc:docMk/>
            <pc:sldMk cId="3712787437" sldId="309"/>
            <ac:spMk id="7" creationId="{09AD15BB-31CB-2457-2D79-AA1F85359FEC}"/>
          </ac:spMkLst>
        </pc:spChg>
        <pc:spChg chg="mod ord">
          <ac:chgData name="Linda Lier" userId="c5892826d897d3cd" providerId="LiveId" clId="{7068258B-AE26-41AE-BE70-95AF9FB41401}" dt="2026-01-22T23:02:55.632" v="562"/>
          <ac:spMkLst>
            <pc:docMk/>
            <pc:sldMk cId="3712787437" sldId="309"/>
            <ac:spMk id="8" creationId="{6E1E0B91-5968-1C3D-4CAE-32B34DF9237C}"/>
          </ac:spMkLst>
        </pc:spChg>
        <pc:spChg chg="mod ord">
          <ac:chgData name="Linda Lier" userId="c5892826d897d3cd" providerId="LiveId" clId="{7068258B-AE26-41AE-BE70-95AF9FB41401}" dt="2026-01-22T23:02:55.629" v="551"/>
          <ac:spMkLst>
            <pc:docMk/>
            <pc:sldMk cId="3712787437" sldId="309"/>
            <ac:spMk id="34" creationId="{B1C0C58F-8F89-0816-C27F-48E887722EEC}"/>
          </ac:spMkLst>
        </pc:spChg>
        <pc:spChg chg="mod">
          <ac:chgData name="Linda Lier" userId="c5892826d897d3cd" providerId="LiveId" clId="{7068258B-AE26-41AE-BE70-95AF9FB41401}" dt="2026-01-22T23:02:55.630" v="554"/>
          <ac:spMkLst>
            <pc:docMk/>
            <pc:sldMk cId="3712787437" sldId="309"/>
            <ac:spMk id="42" creationId="{BD140D94-BBA0-74B6-3576-CE7DFE3A35FC}"/>
          </ac:spMkLst>
        </pc:spChg>
        <pc:spChg chg="mod">
          <ac:chgData name="Linda Lier" userId="c5892826d897d3cd" providerId="LiveId" clId="{7068258B-AE26-41AE-BE70-95AF9FB41401}" dt="2026-01-22T23:02:55.626" v="544"/>
          <ac:spMkLst>
            <pc:docMk/>
            <pc:sldMk cId="3712787437" sldId="309"/>
            <ac:spMk id="65" creationId="{44B21BC2-519A-C41D-7C52-772467CD58A6}"/>
          </ac:spMkLst>
        </pc:spChg>
        <pc:spChg chg="mod">
          <ac:chgData name="Linda Lier" userId="c5892826d897d3cd" providerId="LiveId" clId="{7068258B-AE26-41AE-BE70-95AF9FB41401}" dt="2026-01-22T23:02:55.631" v="558"/>
          <ac:spMkLst>
            <pc:docMk/>
            <pc:sldMk cId="3712787437" sldId="309"/>
            <ac:spMk id="77" creationId="{2610ADC0-77C6-92CD-8175-092C706DC693}"/>
          </ac:spMkLst>
        </pc:spChg>
        <pc:spChg chg="mod ord">
          <ac:chgData name="Linda Lier" userId="c5892826d897d3cd" providerId="LiveId" clId="{7068258B-AE26-41AE-BE70-95AF9FB41401}" dt="2026-01-22T23:02:55.632" v="560"/>
          <ac:spMkLst>
            <pc:docMk/>
            <pc:sldMk cId="3712787437" sldId="309"/>
            <ac:spMk id="79" creationId="{699FB2CF-D2E2-79CE-CEEE-2D40DE7CCACA}"/>
          </ac:spMkLst>
        </pc:spChg>
        <pc:grpChg chg="mod">
          <ac:chgData name="Linda Lier" userId="c5892826d897d3cd" providerId="LiveId" clId="{7068258B-AE26-41AE-BE70-95AF9FB41401}" dt="2026-01-22T23:02:55.629" v="549"/>
          <ac:grpSpMkLst>
            <pc:docMk/>
            <pc:sldMk cId="3712787437" sldId="309"/>
            <ac:grpSpMk id="9" creationId="{FED32134-8867-2063-50FB-BA00E42E638D}"/>
          </ac:grpSpMkLst>
        </pc:grpChg>
        <pc:grpChg chg="mod ord">
          <ac:chgData name="Linda Lier" userId="c5892826d897d3cd" providerId="LiveId" clId="{7068258B-AE26-41AE-BE70-95AF9FB41401}" dt="2026-01-22T23:02:55.629" v="553"/>
          <ac:grpSpMkLst>
            <pc:docMk/>
            <pc:sldMk cId="3712787437" sldId="309"/>
            <ac:grpSpMk id="35" creationId="{82202E6D-4E9E-816A-ECF2-7F7ED13D4AF8}"/>
          </ac:grpSpMkLst>
        </pc:grpChg>
        <pc:grpChg chg="mod">
          <ac:chgData name="Linda Lier" userId="c5892826d897d3cd" providerId="LiveId" clId="{7068258B-AE26-41AE-BE70-95AF9FB41401}" dt="2026-01-22T23:02:55.630" v="555"/>
          <ac:grpSpMkLst>
            <pc:docMk/>
            <pc:sldMk cId="3712787437" sldId="309"/>
            <ac:grpSpMk id="43" creationId="{307C7358-5D3B-7669-7F82-30BBD4D46316}"/>
          </ac:grpSpMkLst>
        </pc:grpChg>
        <pc:grpChg chg="mod ord">
          <ac:chgData name="Linda Lier" userId="c5892826d897d3cd" providerId="LiveId" clId="{7068258B-AE26-41AE-BE70-95AF9FB41401}" dt="2026-01-22T23:02:55.631" v="557"/>
          <ac:grpSpMkLst>
            <pc:docMk/>
            <pc:sldMk cId="3712787437" sldId="309"/>
            <ac:grpSpMk id="66" creationId="{7AEC045B-B768-2E60-F013-35AE3D5490C9}"/>
          </ac:grpSpMkLst>
        </pc:grpChg>
        <pc:graphicFrameChg chg="add del mod ord">
          <ac:chgData name="Linda Lier" userId="c5892826d897d3cd" providerId="LiveId" clId="{7068258B-AE26-41AE-BE70-95AF9FB41401}" dt="2026-01-22T23:02:55.606" v="537"/>
          <ac:graphicFrameMkLst>
            <pc:docMk/>
            <pc:sldMk cId="3712787437" sldId="309"/>
            <ac:graphicFrameMk id="3" creationId="{41B725DB-D7EB-BC6D-1516-097CCBFB6304}"/>
          </ac:graphicFrameMkLst>
        </pc:graphicFrameChg>
        <pc:graphicFrameChg chg="add mod ord">
          <ac:chgData name="Linda Lier" userId="c5892826d897d3cd" providerId="LiveId" clId="{7068258B-AE26-41AE-BE70-95AF9FB41401}" dt="2026-01-22T23:02:55.628" v="548"/>
          <ac:graphicFrameMkLst>
            <pc:docMk/>
            <pc:sldMk cId="3712787437" sldId="309"/>
            <ac:graphicFrameMk id="5" creationId="{7C06FA8C-4270-1E4E-2531-42221470A828}"/>
          </ac:graphicFrameMkLst>
        </pc:graphicFrameChg>
        <pc:graphicFrameChg chg="mod">
          <ac:chgData name="Linda Lier" userId="c5892826d897d3cd" providerId="LiveId" clId="{7068258B-AE26-41AE-BE70-95AF9FB41401}" dt="2026-01-22T23:02:55.633" v="564"/>
          <ac:graphicFrameMkLst>
            <pc:docMk/>
            <pc:sldMk cId="3712787437" sldId="309"/>
            <ac:graphicFrameMk id="6" creationId="{565ECC9C-2CBF-5A3C-7165-73C66C99DBC5}"/>
          </ac:graphicFrameMkLst>
        </pc:graphicFrameChg>
        <pc:graphicFrameChg chg="del">
          <ac:chgData name="Linda Lier" userId="c5892826d897d3cd" providerId="LiveId" clId="{7068258B-AE26-41AE-BE70-95AF9FB41401}" dt="2026-01-22T22:55:18.514" v="217"/>
          <ac:graphicFrameMkLst>
            <pc:docMk/>
            <pc:sldMk cId="3712787437" sldId="309"/>
            <ac:graphicFrameMk id="30" creationId="{383C6045-ED1B-FE4F-4DD2-94567C8EE5CC}"/>
          </ac:graphicFrameMkLst>
        </pc:graphicFrameChg>
      </pc:sldChg>
      <pc:sldChg chg="addSp modSp del mod">
        <pc:chgData name="Linda Lier" userId="c5892826d897d3cd" providerId="LiveId" clId="{7068258B-AE26-41AE-BE70-95AF9FB41401}" dt="2026-01-22T23:32:33.604" v="1719" actId="47"/>
        <pc:sldMkLst>
          <pc:docMk/>
          <pc:sldMk cId="4226927949" sldId="310"/>
        </pc:sldMkLst>
        <pc:graphicFrameChg chg="add mod ord modVis">
          <ac:chgData name="Linda Lier" userId="c5892826d897d3cd" providerId="LiveId" clId="{7068258B-AE26-41AE-BE70-95AF9FB41401}" dt="2026-01-22T22:55:18.609" v="292"/>
          <ac:graphicFrameMkLst>
            <pc:docMk/>
            <pc:sldMk cId="4226927949" sldId="310"/>
            <ac:graphicFrameMk id="29" creationId="{D71529C6-12D8-5565-C0E6-C14E0F31059A}"/>
          </ac:graphicFrameMkLst>
        </pc:graphicFrameChg>
      </pc:sldChg>
      <pc:sldChg chg="modSp del mod">
        <pc:chgData name="Linda Lier" userId="c5892826d897d3cd" providerId="LiveId" clId="{7068258B-AE26-41AE-BE70-95AF9FB41401}" dt="2026-01-22T23:06:50.522" v="737" actId="47"/>
        <pc:sldMkLst>
          <pc:docMk/>
          <pc:sldMk cId="1671302526" sldId="311"/>
        </pc:sldMkLst>
        <pc:spChg chg="mod">
          <ac:chgData name="Linda Lier" userId="c5892826d897d3cd" providerId="LiveId" clId="{7068258B-AE26-41AE-BE70-95AF9FB41401}" dt="2026-01-22T23:02:41.862" v="530" actId="299"/>
          <ac:spMkLst>
            <pc:docMk/>
            <pc:sldMk cId="1671302526" sldId="311"/>
            <ac:spMk id="8" creationId="{04EA14BE-2392-3589-A44D-DD9C7DB1A935}"/>
          </ac:spMkLst>
        </pc:spChg>
      </pc:sldChg>
      <pc:sldChg chg="addSp delSp modSp mod">
        <pc:chgData name="Linda Lier" userId="c5892826d897d3cd" providerId="LiveId" clId="{7068258B-AE26-41AE-BE70-95AF9FB41401}" dt="2026-01-22T23:24:22.016" v="910" actId="14100"/>
        <pc:sldMkLst>
          <pc:docMk/>
          <pc:sldMk cId="1499951941" sldId="312"/>
        </pc:sldMkLst>
        <pc:spChg chg="add del mod">
          <ac:chgData name="Linda Lier" userId="c5892826d897d3cd" providerId="LiveId" clId="{7068258B-AE26-41AE-BE70-95AF9FB41401}" dt="2026-01-22T23:24:19.020" v="909" actId="21"/>
          <ac:spMkLst>
            <pc:docMk/>
            <pc:sldMk cId="1499951941" sldId="312"/>
            <ac:spMk id="2" creationId="{C140E896-F24B-23A0-6CFF-26543B6D6223}"/>
          </ac:spMkLst>
        </pc:spChg>
        <pc:spChg chg="add mod">
          <ac:chgData name="Linda Lier" userId="c5892826d897d3cd" providerId="LiveId" clId="{7068258B-AE26-41AE-BE70-95AF9FB41401}" dt="2026-01-22T23:24:22.016" v="910" actId="14100"/>
          <ac:spMkLst>
            <pc:docMk/>
            <pc:sldMk cId="1499951941" sldId="312"/>
            <ac:spMk id="3" creationId="{45FFB1F2-4EA6-16BA-B49D-11C876D272F4}"/>
          </ac:spMkLst>
        </pc:spChg>
      </pc:sldChg>
      <pc:sldChg chg="modSp add mod modClrScheme chgLayout">
        <pc:chgData name="Linda Lier" userId="c5892826d897d3cd" providerId="LiveId" clId="{7068258B-AE26-41AE-BE70-95AF9FB41401}" dt="2026-01-22T23:40:07.427" v="4255"/>
        <pc:sldMkLst>
          <pc:docMk/>
          <pc:sldMk cId="1592559125" sldId="313"/>
        </pc:sldMkLst>
        <pc:spChg chg="mod ord">
          <ac:chgData name="Linda Lier" userId="c5892826d897d3cd" providerId="LiveId" clId="{7068258B-AE26-41AE-BE70-95AF9FB41401}" dt="2026-01-22T23:40:07.427" v="4255"/>
          <ac:spMkLst>
            <pc:docMk/>
            <pc:sldMk cId="1592559125" sldId="313"/>
            <ac:spMk id="5" creationId="{B34590ED-5884-A7F3-79AC-78D2F25FE391}"/>
          </ac:spMkLst>
        </pc:spChg>
        <pc:spChg chg="mod">
          <ac:chgData name="Linda Lier" userId="c5892826d897d3cd" providerId="LiveId" clId="{7068258B-AE26-41AE-BE70-95AF9FB41401}" dt="2026-01-22T23:15:58.231" v="879" actId="1035"/>
          <ac:spMkLst>
            <pc:docMk/>
            <pc:sldMk cId="1592559125" sldId="313"/>
            <ac:spMk id="8" creationId="{0500D99D-4F20-7E1F-597D-B43873B11852}"/>
          </ac:spMkLst>
        </pc:spChg>
      </pc:sldChg>
      <pc:sldChg chg="add del">
        <pc:chgData name="Linda Lier" userId="c5892826d897d3cd" providerId="LiveId" clId="{7068258B-AE26-41AE-BE70-95AF9FB41401}" dt="2026-01-22T23:06:29.041" v="734" actId="47"/>
        <pc:sldMkLst>
          <pc:docMk/>
          <pc:sldMk cId="1866524967" sldId="313"/>
        </pc:sldMkLst>
      </pc:sldChg>
      <pc:sldChg chg="addSp delSp modSp new mod ord modClrScheme chgLayout">
        <pc:chgData name="Linda Lier" userId="c5892826d897d3cd" providerId="LiveId" clId="{7068258B-AE26-41AE-BE70-95AF9FB41401}" dt="2026-01-22T23:40:43.717" v="4397" actId="207"/>
        <pc:sldMkLst>
          <pc:docMk/>
          <pc:sldMk cId="2288972801" sldId="314"/>
        </pc:sldMkLst>
        <pc:spChg chg="del mod ord">
          <ac:chgData name="Linda Lier" userId="c5892826d897d3cd" providerId="LiveId" clId="{7068258B-AE26-41AE-BE70-95AF9FB41401}" dt="2026-01-22T23:30:19.753" v="1654" actId="700"/>
          <ac:spMkLst>
            <pc:docMk/>
            <pc:sldMk cId="2288972801" sldId="314"/>
            <ac:spMk id="2" creationId="{0BDAFC22-FA07-9238-0FC4-96A06DB79362}"/>
          </ac:spMkLst>
        </pc:spChg>
        <pc:spChg chg="del mod ord">
          <ac:chgData name="Linda Lier" userId="c5892826d897d3cd" providerId="LiveId" clId="{7068258B-AE26-41AE-BE70-95AF9FB41401}" dt="2026-01-22T23:30:19.753" v="1654" actId="700"/>
          <ac:spMkLst>
            <pc:docMk/>
            <pc:sldMk cId="2288972801" sldId="314"/>
            <ac:spMk id="3" creationId="{1A880A2D-AF44-38BB-C88C-DD7376891997}"/>
          </ac:spMkLst>
        </pc:spChg>
        <pc:spChg chg="del mod ord">
          <ac:chgData name="Linda Lier" userId="c5892826d897d3cd" providerId="LiveId" clId="{7068258B-AE26-41AE-BE70-95AF9FB41401}" dt="2026-01-22T23:30:19.753" v="1654" actId="700"/>
          <ac:spMkLst>
            <pc:docMk/>
            <pc:sldMk cId="2288972801" sldId="314"/>
            <ac:spMk id="4" creationId="{D36F7A3B-E43F-23CC-1D59-483A612F6A49}"/>
          </ac:spMkLst>
        </pc:spChg>
        <pc:spChg chg="add mod ord">
          <ac:chgData name="Linda Lier" userId="c5892826d897d3cd" providerId="LiveId" clId="{7068258B-AE26-41AE-BE70-95AF9FB41401}" dt="2026-01-22T23:30:19.753" v="1654" actId="700"/>
          <ac:spMkLst>
            <pc:docMk/>
            <pc:sldMk cId="2288972801" sldId="314"/>
            <ac:spMk id="5" creationId="{AFB244B3-0822-EE0D-15C0-C1D18A2FBFF5}"/>
          </ac:spMkLst>
        </pc:spChg>
        <pc:spChg chg="add mod ord">
          <ac:chgData name="Linda Lier" userId="c5892826d897d3cd" providerId="LiveId" clId="{7068258B-AE26-41AE-BE70-95AF9FB41401}" dt="2026-01-22T23:30:19.753" v="1654" actId="700"/>
          <ac:spMkLst>
            <pc:docMk/>
            <pc:sldMk cId="2288972801" sldId="314"/>
            <ac:spMk id="6" creationId="{7EED425B-B431-66DE-109E-65181C2A0BF2}"/>
          </ac:spMkLst>
        </pc:spChg>
        <pc:spChg chg="add mod ord">
          <ac:chgData name="Linda Lier" userId="c5892826d897d3cd" providerId="LiveId" clId="{7068258B-AE26-41AE-BE70-95AF9FB41401}" dt="2026-01-22T23:30:19.753" v="1654" actId="700"/>
          <ac:spMkLst>
            <pc:docMk/>
            <pc:sldMk cId="2288972801" sldId="314"/>
            <ac:spMk id="7" creationId="{C6FDE01B-ED13-2652-7EA4-EB2C6B6CF8D1}"/>
          </ac:spMkLst>
        </pc:spChg>
        <pc:spChg chg="add mod">
          <ac:chgData name="Linda Lier" userId="c5892826d897d3cd" providerId="LiveId" clId="{7068258B-AE26-41AE-BE70-95AF9FB41401}" dt="2026-01-22T23:40:41.096" v="4396" actId="554"/>
          <ac:spMkLst>
            <pc:docMk/>
            <pc:sldMk cId="2288972801" sldId="314"/>
            <ac:spMk id="9" creationId="{38B23A11-ADC9-B26B-FB9A-0D8C02123A7A}"/>
          </ac:spMkLst>
        </pc:spChg>
        <pc:spChg chg="add mod">
          <ac:chgData name="Linda Lier" userId="c5892826d897d3cd" providerId="LiveId" clId="{7068258B-AE26-41AE-BE70-95AF9FB41401}" dt="2026-01-22T23:40:43.717" v="4397" actId="207"/>
          <ac:spMkLst>
            <pc:docMk/>
            <pc:sldMk cId="2288972801" sldId="314"/>
            <ac:spMk id="10" creationId="{D50F53C1-C71D-4003-2880-7A6F15FF320F}"/>
          </ac:spMkLst>
        </pc:spChg>
        <pc:graphicFrameChg chg="add mod ord modVis">
          <ac:chgData name="Linda Lier" userId="c5892826d897d3cd" providerId="LiveId" clId="{7068258B-AE26-41AE-BE70-95AF9FB41401}" dt="2026-01-22T23:30:21.838" v="1670"/>
          <ac:graphicFrameMkLst>
            <pc:docMk/>
            <pc:sldMk cId="2288972801" sldId="314"/>
            <ac:graphicFrameMk id="8" creationId="{89DD83E4-2978-E9BE-058E-4EDFAE774C43}"/>
          </ac:graphicFrameMkLst>
        </pc:graphicFrameChg>
      </pc:sldChg>
      <pc:sldChg chg="addSp delSp modSp new mod ord modClrScheme chgLayout">
        <pc:chgData name="Linda Lier" userId="c5892826d897d3cd" providerId="LiveId" clId="{7068258B-AE26-41AE-BE70-95AF9FB41401}" dt="2026-01-22T23:38:51.212" v="4034"/>
        <pc:sldMkLst>
          <pc:docMk/>
          <pc:sldMk cId="212204480" sldId="315"/>
        </pc:sldMkLst>
        <pc:spChg chg="del mod ord">
          <ac:chgData name="Linda Lier" userId="c5892826d897d3cd" providerId="LiveId" clId="{7068258B-AE26-41AE-BE70-95AF9FB41401}" dt="2026-01-22T23:32:06.510" v="1703" actId="700"/>
          <ac:spMkLst>
            <pc:docMk/>
            <pc:sldMk cId="212204480" sldId="315"/>
            <ac:spMk id="2" creationId="{C10055AB-8166-C544-B489-50EC12DC5B4F}"/>
          </ac:spMkLst>
        </pc:spChg>
        <pc:spChg chg="del mod ord">
          <ac:chgData name="Linda Lier" userId="c5892826d897d3cd" providerId="LiveId" clId="{7068258B-AE26-41AE-BE70-95AF9FB41401}" dt="2026-01-22T23:32:06.510" v="1703" actId="700"/>
          <ac:spMkLst>
            <pc:docMk/>
            <pc:sldMk cId="212204480" sldId="315"/>
            <ac:spMk id="3" creationId="{8468D237-8DA9-3D5C-B736-1B6F105FCFFF}"/>
          </ac:spMkLst>
        </pc:spChg>
        <pc:spChg chg="del mod ord">
          <ac:chgData name="Linda Lier" userId="c5892826d897d3cd" providerId="LiveId" clId="{7068258B-AE26-41AE-BE70-95AF9FB41401}" dt="2026-01-22T23:32:06.510" v="1703" actId="700"/>
          <ac:spMkLst>
            <pc:docMk/>
            <pc:sldMk cId="212204480" sldId="315"/>
            <ac:spMk id="4" creationId="{921F6ACD-259B-7A49-4FF5-8DA094822F8E}"/>
          </ac:spMkLst>
        </pc:spChg>
        <pc:spChg chg="add mod ord">
          <ac:chgData name="Linda Lier" userId="c5892826d897d3cd" providerId="LiveId" clId="{7068258B-AE26-41AE-BE70-95AF9FB41401}" dt="2026-01-22T23:32:06.510" v="1703" actId="700"/>
          <ac:spMkLst>
            <pc:docMk/>
            <pc:sldMk cId="212204480" sldId="315"/>
            <ac:spMk id="5" creationId="{22032DE0-4B3E-B198-516C-827061D6770F}"/>
          </ac:spMkLst>
        </pc:spChg>
        <pc:spChg chg="add mod ord">
          <ac:chgData name="Linda Lier" userId="c5892826d897d3cd" providerId="LiveId" clId="{7068258B-AE26-41AE-BE70-95AF9FB41401}" dt="2026-01-22T23:32:06.510" v="1703" actId="700"/>
          <ac:spMkLst>
            <pc:docMk/>
            <pc:sldMk cId="212204480" sldId="315"/>
            <ac:spMk id="6" creationId="{3621BD56-1B3C-7753-3253-063AB48A23F2}"/>
          </ac:spMkLst>
        </pc:spChg>
        <pc:spChg chg="add mod ord">
          <ac:chgData name="Linda Lier" userId="c5892826d897d3cd" providerId="LiveId" clId="{7068258B-AE26-41AE-BE70-95AF9FB41401}" dt="2026-01-22T23:32:06.510" v="1703" actId="700"/>
          <ac:spMkLst>
            <pc:docMk/>
            <pc:sldMk cId="212204480" sldId="315"/>
            <ac:spMk id="7" creationId="{39D98717-4E18-BB91-BEA0-6846A771E9CE}"/>
          </ac:spMkLst>
        </pc:spChg>
        <pc:spChg chg="add mod">
          <ac:chgData name="Linda Lier" userId="c5892826d897d3cd" providerId="LiveId" clId="{7068258B-AE26-41AE-BE70-95AF9FB41401}" dt="2026-01-22T23:38:42.897" v="4017"/>
          <ac:spMkLst>
            <pc:docMk/>
            <pc:sldMk cId="212204480" sldId="315"/>
            <ac:spMk id="9" creationId="{F168D7D8-4DB9-E2C5-DD6C-5C942E1B79E0}"/>
          </ac:spMkLst>
        </pc:spChg>
        <pc:graphicFrameChg chg="add mod ord modVis">
          <ac:chgData name="Linda Lier" userId="c5892826d897d3cd" providerId="LiveId" clId="{7068258B-AE26-41AE-BE70-95AF9FB41401}" dt="2026-01-22T23:32:07.050" v="1717"/>
          <ac:graphicFrameMkLst>
            <pc:docMk/>
            <pc:sldMk cId="212204480" sldId="315"/>
            <ac:graphicFrameMk id="8" creationId="{1FE2F397-BA24-EDF5-F491-B6D2F09318C7}"/>
          </ac:graphicFrameMkLst>
        </pc:graphicFrameChg>
      </pc:sldChg>
      <pc:sldChg chg="addSp delSp modSp new mod ord modClrScheme chgLayout">
        <pc:chgData name="Linda Lier" userId="c5892826d897d3cd" providerId="LiveId" clId="{7068258B-AE26-41AE-BE70-95AF9FB41401}" dt="2026-01-22T23:38:52.372" v="4036"/>
        <pc:sldMkLst>
          <pc:docMk/>
          <pc:sldMk cId="1735796798" sldId="316"/>
        </pc:sldMkLst>
        <pc:spChg chg="del mod ord">
          <ac:chgData name="Linda Lier" userId="c5892826d897d3cd" providerId="LiveId" clId="{7068258B-AE26-41AE-BE70-95AF9FB41401}" dt="2026-01-22T23:38:46.438" v="4018" actId="700"/>
          <ac:spMkLst>
            <pc:docMk/>
            <pc:sldMk cId="1735796798" sldId="316"/>
            <ac:spMk id="2" creationId="{B38B957C-CBE5-B79A-FFC4-6FE72CA3AE62}"/>
          </ac:spMkLst>
        </pc:spChg>
        <pc:spChg chg="del">
          <ac:chgData name="Linda Lier" userId="c5892826d897d3cd" providerId="LiveId" clId="{7068258B-AE26-41AE-BE70-95AF9FB41401}" dt="2026-01-22T23:38:46.438" v="4018" actId="700"/>
          <ac:spMkLst>
            <pc:docMk/>
            <pc:sldMk cId="1735796798" sldId="316"/>
            <ac:spMk id="3" creationId="{4EEBE364-C7D3-9654-E651-16F13C43ECE5}"/>
          </ac:spMkLst>
        </pc:spChg>
        <pc:spChg chg="del">
          <ac:chgData name="Linda Lier" userId="c5892826d897d3cd" providerId="LiveId" clId="{7068258B-AE26-41AE-BE70-95AF9FB41401}" dt="2026-01-22T23:38:46.438" v="4018" actId="700"/>
          <ac:spMkLst>
            <pc:docMk/>
            <pc:sldMk cId="1735796798" sldId="316"/>
            <ac:spMk id="4" creationId="{A0F9413F-AF51-93C3-38B3-D9E59576CDE1}"/>
          </ac:spMkLst>
        </pc:spChg>
        <pc:spChg chg="add mod ord">
          <ac:chgData name="Linda Lier" userId="c5892826d897d3cd" providerId="LiveId" clId="{7068258B-AE26-41AE-BE70-95AF9FB41401}" dt="2026-01-22T23:38:46.438" v="4018" actId="700"/>
          <ac:spMkLst>
            <pc:docMk/>
            <pc:sldMk cId="1735796798" sldId="316"/>
            <ac:spMk id="5" creationId="{92DECAF3-A18D-1FD7-A8CC-BD78BF8D548F}"/>
          </ac:spMkLst>
        </pc:spChg>
        <pc:graphicFrameChg chg="add mod ord modVis">
          <ac:chgData name="Linda Lier" userId="c5892826d897d3cd" providerId="LiveId" clId="{7068258B-AE26-41AE-BE70-95AF9FB41401}" dt="2026-01-22T23:38:46.990" v="4032"/>
          <ac:graphicFrameMkLst>
            <pc:docMk/>
            <pc:sldMk cId="1735796798" sldId="316"/>
            <ac:graphicFrameMk id="6" creationId="{BEA91CC2-BCE7-A479-2DFB-F1D0EA6E3E26}"/>
          </ac:graphicFrameMkLst>
        </pc:graphicFrameChg>
      </pc:sldChg>
      <pc:sldChg chg="addSp delSp modSp new mod modClrScheme chgLayout">
        <pc:chgData name="Linda Lier" userId="c5892826d897d3cd" providerId="LiveId" clId="{7068258B-AE26-41AE-BE70-95AF9FB41401}" dt="2026-01-22T23:40:54.502" v="4400" actId="207"/>
        <pc:sldMkLst>
          <pc:docMk/>
          <pc:sldMk cId="901098708" sldId="317"/>
        </pc:sldMkLst>
        <pc:spChg chg="del mod ord">
          <ac:chgData name="Linda Lier" userId="c5892826d897d3cd" providerId="LiveId" clId="{7068258B-AE26-41AE-BE70-95AF9FB41401}" dt="2026-01-22T23:39:03.091" v="4038" actId="700"/>
          <ac:spMkLst>
            <pc:docMk/>
            <pc:sldMk cId="901098708" sldId="317"/>
            <ac:spMk id="2" creationId="{8AF80E9C-28E5-11E1-1473-65D5DC134AAD}"/>
          </ac:spMkLst>
        </pc:spChg>
        <pc:spChg chg="del mod ord">
          <ac:chgData name="Linda Lier" userId="c5892826d897d3cd" providerId="LiveId" clId="{7068258B-AE26-41AE-BE70-95AF9FB41401}" dt="2026-01-22T23:39:03.091" v="4038" actId="700"/>
          <ac:spMkLst>
            <pc:docMk/>
            <pc:sldMk cId="901098708" sldId="317"/>
            <ac:spMk id="3" creationId="{89D49F7F-106A-67EA-229D-591B25EEBD87}"/>
          </ac:spMkLst>
        </pc:spChg>
        <pc:spChg chg="del mod ord">
          <ac:chgData name="Linda Lier" userId="c5892826d897d3cd" providerId="LiveId" clId="{7068258B-AE26-41AE-BE70-95AF9FB41401}" dt="2026-01-22T23:39:03.091" v="4038" actId="700"/>
          <ac:spMkLst>
            <pc:docMk/>
            <pc:sldMk cId="901098708" sldId="317"/>
            <ac:spMk id="4" creationId="{24F4D49E-EA0C-896B-5CED-9E009706335F}"/>
          </ac:spMkLst>
        </pc:spChg>
        <pc:spChg chg="add mod ord">
          <ac:chgData name="Linda Lier" userId="c5892826d897d3cd" providerId="LiveId" clId="{7068258B-AE26-41AE-BE70-95AF9FB41401}" dt="2026-01-22T23:39:03.091" v="4038" actId="700"/>
          <ac:spMkLst>
            <pc:docMk/>
            <pc:sldMk cId="901098708" sldId="317"/>
            <ac:spMk id="5" creationId="{A9A2F6BC-53FE-479F-53EF-7A7343F0BD7C}"/>
          </ac:spMkLst>
        </pc:spChg>
        <pc:spChg chg="add mod ord">
          <ac:chgData name="Linda Lier" userId="c5892826d897d3cd" providerId="LiveId" clId="{7068258B-AE26-41AE-BE70-95AF9FB41401}" dt="2026-01-22T23:39:03.091" v="4038" actId="700"/>
          <ac:spMkLst>
            <pc:docMk/>
            <pc:sldMk cId="901098708" sldId="317"/>
            <ac:spMk id="6" creationId="{63435418-AF91-232D-BBB8-375D13325385}"/>
          </ac:spMkLst>
        </pc:spChg>
        <pc:spChg chg="add mod ord">
          <ac:chgData name="Linda Lier" userId="c5892826d897d3cd" providerId="LiveId" clId="{7068258B-AE26-41AE-BE70-95AF9FB41401}" dt="2026-01-22T23:39:03.091" v="4038" actId="700"/>
          <ac:spMkLst>
            <pc:docMk/>
            <pc:sldMk cId="901098708" sldId="317"/>
            <ac:spMk id="7" creationId="{11B15585-1E5C-C163-5F26-F2F7EEB919F2}"/>
          </ac:spMkLst>
        </pc:spChg>
        <pc:spChg chg="add mod">
          <ac:chgData name="Linda Lier" userId="c5892826d897d3cd" providerId="LiveId" clId="{7068258B-AE26-41AE-BE70-95AF9FB41401}" dt="2026-01-22T23:40:54.502" v="4400" actId="207"/>
          <ac:spMkLst>
            <pc:docMk/>
            <pc:sldMk cId="901098708" sldId="317"/>
            <ac:spMk id="9" creationId="{9F3AF8D1-9F63-1B5B-D94D-D43C2896EDEF}"/>
          </ac:spMkLst>
        </pc:spChg>
        <pc:spChg chg="add mod">
          <ac:chgData name="Linda Lier" userId="c5892826d897d3cd" providerId="LiveId" clId="{7068258B-AE26-41AE-BE70-95AF9FB41401}" dt="2026-01-22T23:40:50.758" v="4399" actId="207"/>
          <ac:spMkLst>
            <pc:docMk/>
            <pc:sldMk cId="901098708" sldId="317"/>
            <ac:spMk id="10" creationId="{1B4FE20A-440E-65CB-D87E-6F96983A5893}"/>
          </ac:spMkLst>
        </pc:spChg>
        <pc:graphicFrameChg chg="add mod ord modVis">
          <ac:chgData name="Linda Lier" userId="c5892826d897d3cd" providerId="LiveId" clId="{7068258B-AE26-41AE-BE70-95AF9FB41401}" dt="2026-01-22T23:39:03.643" v="4052"/>
          <ac:graphicFrameMkLst>
            <pc:docMk/>
            <pc:sldMk cId="901098708" sldId="317"/>
            <ac:graphicFrameMk id="8" creationId="{4E0C6F97-60DE-3745-54F6-C56F1C0A107B}"/>
          </ac:graphicFrameMkLst>
        </pc:graphicFrameChg>
      </pc:sldChg>
      <pc:sldChg chg="addSp delSp modSp add mod modClrScheme chgLayout">
        <pc:chgData name="Linda Lier" userId="c5892826d897d3cd" providerId="LiveId" clId="{7068258B-AE26-41AE-BE70-95AF9FB41401}" dt="2026-01-22T23:40:17.341" v="4391" actId="207"/>
        <pc:sldMkLst>
          <pc:docMk/>
          <pc:sldMk cId="1482303232" sldId="318"/>
        </pc:sldMkLst>
        <pc:spChg chg="mod">
          <ac:chgData name="Linda Lier" userId="c5892826d897d3cd" providerId="LiveId" clId="{7068258B-AE26-41AE-BE70-95AF9FB41401}" dt="2026-01-22T23:40:17.341" v="4391" actId="207"/>
          <ac:spMkLst>
            <pc:docMk/>
            <pc:sldMk cId="1482303232" sldId="318"/>
            <ac:spMk id="2" creationId="{21C7E3DC-BE85-209F-4706-3384FA38666D}"/>
          </ac:spMkLst>
        </pc:spChg>
        <pc:spChg chg="add mod ord">
          <ac:chgData name="Linda Lier" userId="c5892826d897d3cd" providerId="LiveId" clId="{7068258B-AE26-41AE-BE70-95AF9FB41401}" dt="2026-01-22T23:39:14.202" v="4054" actId="700"/>
          <ac:spMkLst>
            <pc:docMk/>
            <pc:sldMk cId="1482303232" sldId="318"/>
            <ac:spMk id="3" creationId="{540C3C17-01CD-809A-4BF4-E64A0C8D1CD4}"/>
          </ac:spMkLst>
        </pc:spChg>
        <pc:spChg chg="add mod ord">
          <ac:chgData name="Linda Lier" userId="c5892826d897d3cd" providerId="LiveId" clId="{7068258B-AE26-41AE-BE70-95AF9FB41401}" dt="2026-01-22T23:39:14.202" v="4054" actId="700"/>
          <ac:spMkLst>
            <pc:docMk/>
            <pc:sldMk cId="1482303232" sldId="318"/>
            <ac:spMk id="4" creationId="{36EF6024-2738-3886-AD40-865D41706BA9}"/>
          </ac:spMkLst>
        </pc:spChg>
        <pc:spChg chg="del mod ord">
          <ac:chgData name="Linda Lier" userId="c5892826d897d3cd" providerId="LiveId" clId="{7068258B-AE26-41AE-BE70-95AF9FB41401}" dt="2026-01-22T23:39:14.202" v="4054" actId="700"/>
          <ac:spMkLst>
            <pc:docMk/>
            <pc:sldMk cId="1482303232" sldId="318"/>
            <ac:spMk id="5" creationId="{7066740E-E87E-7696-AA34-9767782F3C4E}"/>
          </ac:spMkLst>
        </pc:spChg>
        <pc:spChg chg="del mod ord">
          <ac:chgData name="Linda Lier" userId="c5892826d897d3cd" providerId="LiveId" clId="{7068258B-AE26-41AE-BE70-95AF9FB41401}" dt="2026-01-22T23:39:14.202" v="4054" actId="700"/>
          <ac:spMkLst>
            <pc:docMk/>
            <pc:sldMk cId="1482303232" sldId="318"/>
            <ac:spMk id="6" creationId="{9D22DAEE-4A82-75E3-3FCC-70AF0761E0B7}"/>
          </ac:spMkLst>
        </pc:spChg>
        <pc:spChg chg="del mod ord">
          <ac:chgData name="Linda Lier" userId="c5892826d897d3cd" providerId="LiveId" clId="{7068258B-AE26-41AE-BE70-95AF9FB41401}" dt="2026-01-22T23:39:14.202" v="4054" actId="700"/>
          <ac:spMkLst>
            <pc:docMk/>
            <pc:sldMk cId="1482303232" sldId="318"/>
            <ac:spMk id="7" creationId="{236D400D-AB5C-6DC6-87D4-8499C8FE95DE}"/>
          </ac:spMkLst>
        </pc:spChg>
        <pc:spChg chg="add mod ord">
          <ac:chgData name="Linda Lier" userId="c5892826d897d3cd" providerId="LiveId" clId="{7068258B-AE26-41AE-BE70-95AF9FB41401}" dt="2026-01-22T23:39:14.202" v="4054" actId="700"/>
          <ac:spMkLst>
            <pc:docMk/>
            <pc:sldMk cId="1482303232" sldId="318"/>
            <ac:spMk id="9" creationId="{01FDC4E6-632E-939E-C7D4-FB2F7680D35C}"/>
          </ac:spMkLst>
        </pc:spChg>
      </pc:sldChg>
      <pc:sldChg chg="addSp delSp modSp new mod modClrScheme chgLayout">
        <pc:chgData name="Linda Lier" userId="c5892826d897d3cd" providerId="LiveId" clId="{7068258B-AE26-41AE-BE70-95AF9FB41401}" dt="2026-01-22T23:50:46.118" v="4941"/>
        <pc:sldMkLst>
          <pc:docMk/>
          <pc:sldMk cId="3641823233" sldId="319"/>
        </pc:sldMkLst>
        <pc:spChg chg="del mod ord">
          <ac:chgData name="Linda Lier" userId="c5892826d897d3cd" providerId="LiveId" clId="{7068258B-AE26-41AE-BE70-95AF9FB41401}" dt="2026-01-22T23:50:42.594" v="4926" actId="700"/>
          <ac:spMkLst>
            <pc:docMk/>
            <pc:sldMk cId="3641823233" sldId="319"/>
            <ac:spMk id="2" creationId="{EC97871F-FFEB-DC28-D046-EDE2DE090165}"/>
          </ac:spMkLst>
        </pc:spChg>
        <pc:spChg chg="del mod ord">
          <ac:chgData name="Linda Lier" userId="c5892826d897d3cd" providerId="LiveId" clId="{7068258B-AE26-41AE-BE70-95AF9FB41401}" dt="2026-01-22T23:50:42.594" v="4926" actId="700"/>
          <ac:spMkLst>
            <pc:docMk/>
            <pc:sldMk cId="3641823233" sldId="319"/>
            <ac:spMk id="3" creationId="{7AE7615C-285A-A6FD-1C1F-AB1102DBCBE4}"/>
          </ac:spMkLst>
        </pc:spChg>
        <pc:spChg chg="del mod ord">
          <ac:chgData name="Linda Lier" userId="c5892826d897d3cd" providerId="LiveId" clId="{7068258B-AE26-41AE-BE70-95AF9FB41401}" dt="2026-01-22T23:50:42.594" v="4926" actId="700"/>
          <ac:spMkLst>
            <pc:docMk/>
            <pc:sldMk cId="3641823233" sldId="319"/>
            <ac:spMk id="4" creationId="{8E9F0108-7819-E0A8-C8C7-DE506BA6730E}"/>
          </ac:spMkLst>
        </pc:spChg>
        <pc:spChg chg="add del mod ord">
          <ac:chgData name="Linda Lier" userId="c5892826d897d3cd" providerId="LiveId" clId="{7068258B-AE26-41AE-BE70-95AF9FB41401}" dt="2026-01-22T23:50:45.568" v="4927" actId="700"/>
          <ac:spMkLst>
            <pc:docMk/>
            <pc:sldMk cId="3641823233" sldId="319"/>
            <ac:spMk id="5" creationId="{EB2F504C-2A0A-F83F-8125-5F77275C2406}"/>
          </ac:spMkLst>
        </pc:spChg>
        <pc:spChg chg="add del mod ord">
          <ac:chgData name="Linda Lier" userId="c5892826d897d3cd" providerId="LiveId" clId="{7068258B-AE26-41AE-BE70-95AF9FB41401}" dt="2026-01-22T23:50:45.568" v="4927" actId="700"/>
          <ac:spMkLst>
            <pc:docMk/>
            <pc:sldMk cId="3641823233" sldId="319"/>
            <ac:spMk id="6" creationId="{26179B6D-F170-27E7-E738-B54DD3699ECE}"/>
          </ac:spMkLst>
        </pc:spChg>
        <pc:spChg chg="add del mod ord">
          <ac:chgData name="Linda Lier" userId="c5892826d897d3cd" providerId="LiveId" clId="{7068258B-AE26-41AE-BE70-95AF9FB41401}" dt="2026-01-22T23:50:45.568" v="4927" actId="700"/>
          <ac:spMkLst>
            <pc:docMk/>
            <pc:sldMk cId="3641823233" sldId="319"/>
            <ac:spMk id="7" creationId="{E01A13C7-E5FF-65EE-6DEF-5AC295698BBE}"/>
          </ac:spMkLst>
        </pc:spChg>
        <pc:spChg chg="add mod ord">
          <ac:chgData name="Linda Lier" userId="c5892826d897d3cd" providerId="LiveId" clId="{7068258B-AE26-41AE-BE70-95AF9FB41401}" dt="2026-01-22T23:50:45.568" v="4927" actId="700"/>
          <ac:spMkLst>
            <pc:docMk/>
            <pc:sldMk cId="3641823233" sldId="319"/>
            <ac:spMk id="8" creationId="{41ACFA5E-F215-202F-54DB-12FE220D25A0}"/>
          </ac:spMkLst>
        </pc:spChg>
        <pc:spChg chg="add mod ord">
          <ac:chgData name="Linda Lier" userId="c5892826d897d3cd" providerId="LiveId" clId="{7068258B-AE26-41AE-BE70-95AF9FB41401}" dt="2026-01-22T23:50:45.568" v="4927" actId="700"/>
          <ac:spMkLst>
            <pc:docMk/>
            <pc:sldMk cId="3641823233" sldId="319"/>
            <ac:spMk id="9" creationId="{E6F77A2C-CEBA-590F-D1C7-F95C8F43537C}"/>
          </ac:spMkLst>
        </pc:spChg>
        <pc:spChg chg="add mod ord">
          <ac:chgData name="Linda Lier" userId="c5892826d897d3cd" providerId="LiveId" clId="{7068258B-AE26-41AE-BE70-95AF9FB41401}" dt="2026-01-22T23:50:45.568" v="4927" actId="700"/>
          <ac:spMkLst>
            <pc:docMk/>
            <pc:sldMk cId="3641823233" sldId="319"/>
            <ac:spMk id="10" creationId="{72D6AD54-2C00-1715-134A-331E36F92DDA}"/>
          </ac:spMkLst>
        </pc:spChg>
        <pc:graphicFrameChg chg="add mod ord modVis">
          <ac:chgData name="Linda Lier" userId="c5892826d897d3cd" providerId="LiveId" clId="{7068258B-AE26-41AE-BE70-95AF9FB41401}" dt="2026-01-22T23:50:46.118" v="4941"/>
          <ac:graphicFrameMkLst>
            <pc:docMk/>
            <pc:sldMk cId="3641823233" sldId="319"/>
            <ac:graphicFrameMk id="11" creationId="{36F3684E-9462-D48D-04B3-C93C53DFDBB8}"/>
          </ac:graphicFrameMkLst>
        </pc:graphicFrameChg>
      </pc:sldChg>
      <pc:sldMasterChg chg="addSp delSp modSp mod addSldLayout modSldLayout sldLayoutOrd">
        <pc:chgData name="Linda Lier" userId="c5892826d897d3cd" providerId="LiveId" clId="{7068258B-AE26-41AE-BE70-95AF9FB41401}" dt="2026-01-22T23:50:38.281" v="4925" actId="18131"/>
        <pc:sldMasterMkLst>
          <pc:docMk/>
          <pc:sldMasterMk cId="4036943338" sldId="2147483672"/>
        </pc:sldMasterMkLst>
        <pc:spChg chg="mod">
          <ac:chgData name="Linda Lier" userId="c5892826d897d3cd" providerId="LiveId" clId="{7068258B-AE26-41AE-BE70-95AF9FB41401}" dt="2026-01-22T22:55:45.777" v="295" actId="299"/>
          <ac:spMkLst>
            <pc:docMk/>
            <pc:sldMasterMk cId="4036943338" sldId="2147483672"/>
            <ac:spMk id="57" creationId="{98FF70AE-7EF6-4E5B-9FFE-B44C852C9FBA}"/>
          </ac:spMkLst>
        </pc:spChg>
        <pc:grpChg chg="del">
          <ac:chgData name="Linda Lier" userId="c5892826d897d3cd" providerId="LiveId" clId="{7068258B-AE26-41AE-BE70-95AF9FB41401}" dt="2026-01-22T23:10:08.686" v="796" actId="478"/>
          <ac:grpSpMkLst>
            <pc:docMk/>
            <pc:sldMasterMk cId="4036943338" sldId="2147483672"/>
            <ac:grpSpMk id="47" creationId="{F587A446-BEBF-3315-1B9D-CDCA50E042C7}"/>
          </ac:grpSpMkLst>
        </pc:grpChg>
        <pc:picChg chg="add del mod">
          <ac:chgData name="Linda Lier" userId="c5892826d897d3cd" providerId="LiveId" clId="{7068258B-AE26-41AE-BE70-95AF9FB41401}" dt="2026-01-22T23:11:38.683" v="801" actId="478"/>
          <ac:picMkLst>
            <pc:docMk/>
            <pc:sldMasterMk cId="4036943338" sldId="2147483672"/>
            <ac:picMk id="6" creationId="{C5D76A96-CB67-852E-51D1-722927F53A71}"/>
          </ac:picMkLst>
        </pc:picChg>
        <pc:picChg chg="add mod">
          <ac:chgData name="Linda Lier" userId="c5892826d897d3cd" providerId="LiveId" clId="{7068258B-AE26-41AE-BE70-95AF9FB41401}" dt="2026-01-22T23:12:07.919" v="806" actId="1076"/>
          <ac:picMkLst>
            <pc:docMk/>
            <pc:sldMasterMk cId="4036943338" sldId="2147483672"/>
            <ac:picMk id="54" creationId="{3F99E42D-6CCB-9D8D-7748-E7D558ECCDDA}"/>
          </ac:picMkLst>
        </pc:picChg>
        <pc:sldLayoutChg chg="addSp delSp modSp mod">
          <pc:chgData name="Linda Lier" userId="c5892826d897d3cd" providerId="LiveId" clId="{7068258B-AE26-41AE-BE70-95AF9FB41401}" dt="2026-01-22T23:12:26.823" v="810" actId="1076"/>
          <pc:sldLayoutMkLst>
            <pc:docMk/>
            <pc:sldMasterMk cId="4036943338" sldId="2147483672"/>
            <pc:sldLayoutMk cId="1376026294" sldId="2147483673"/>
          </pc:sldLayoutMkLst>
          <pc:spChg chg="mod ord">
            <ac:chgData name="Linda Lier" userId="c5892826d897d3cd" providerId="LiveId" clId="{7068258B-AE26-41AE-BE70-95AF9FB41401}" dt="2026-01-22T23:03:54.404" v="630"/>
            <ac:spMkLst>
              <pc:docMk/>
              <pc:sldMasterMk cId="4036943338" sldId="2147483672"/>
              <pc:sldLayoutMk cId="1376026294" sldId="2147483673"/>
              <ac:spMk id="2" creationId="{CC42428D-965F-410A-AAB0-2F4E028AF079}"/>
            </ac:spMkLst>
          </pc:spChg>
          <pc:spChg chg="add del mod">
            <ac:chgData name="Linda Lier" userId="c5892826d897d3cd" providerId="LiveId" clId="{7068258B-AE26-41AE-BE70-95AF9FB41401}" dt="2026-01-22T23:01:42.670" v="496" actId="478"/>
            <ac:spMkLst>
              <pc:docMk/>
              <pc:sldMasterMk cId="4036943338" sldId="2147483672"/>
              <pc:sldLayoutMk cId="1376026294" sldId="2147483673"/>
              <ac:spMk id="5" creationId="{2F00ADD6-98C4-064E-3C5B-A6B6A6E7A5DE}"/>
            </ac:spMkLst>
          </pc:spChg>
          <pc:spChg chg="add mod ord">
            <ac:chgData name="Linda Lier" userId="c5892826d897d3cd" providerId="LiveId" clId="{7068258B-AE26-41AE-BE70-95AF9FB41401}" dt="2026-01-22T23:12:25.399" v="809" actId="14100"/>
            <ac:spMkLst>
              <pc:docMk/>
              <pc:sldMasterMk cId="4036943338" sldId="2147483672"/>
              <pc:sldLayoutMk cId="1376026294" sldId="2147483673"/>
              <ac:spMk id="6" creationId="{9A451CA0-E30B-1900-50A2-0ECB38532921}"/>
            </ac:spMkLst>
          </pc:spChg>
          <pc:spChg chg="add del mod">
            <ac:chgData name="Linda Lier" userId="c5892826d897d3cd" providerId="LiveId" clId="{7068258B-AE26-41AE-BE70-95AF9FB41401}" dt="2026-01-22T23:05:55.025" v="670" actId="21"/>
            <ac:spMkLst>
              <pc:docMk/>
              <pc:sldMasterMk cId="4036943338" sldId="2147483672"/>
              <pc:sldLayoutMk cId="1376026294" sldId="2147483673"/>
              <ac:spMk id="8" creationId="{D317C1F7-F720-7C0D-8CE4-271D938D7293}"/>
            </ac:spMkLst>
          </pc:spChg>
          <pc:spChg chg="mod">
            <ac:chgData name="Linda Lier" userId="c5892826d897d3cd" providerId="LiveId" clId="{7068258B-AE26-41AE-BE70-95AF9FB41401}" dt="2026-01-22T23:06:15.611" v="710"/>
            <ac:spMkLst>
              <pc:docMk/>
              <pc:sldMasterMk cId="4036943338" sldId="2147483672"/>
              <pc:sldLayoutMk cId="1376026294" sldId="2147483673"/>
              <ac:spMk id="20" creationId="{AA4E4E19-7239-46DA-AE24-CE9556C9BE7D}"/>
            </ac:spMkLst>
          </pc:spChg>
          <pc:spChg chg="del mod ord">
            <ac:chgData name="Linda Lier" userId="c5892826d897d3cd" providerId="LiveId" clId="{7068258B-AE26-41AE-BE70-95AF9FB41401}" dt="2026-01-22T23:03:37.479" v="609" actId="478"/>
            <ac:spMkLst>
              <pc:docMk/>
              <pc:sldMasterMk cId="4036943338" sldId="2147483672"/>
              <pc:sldLayoutMk cId="1376026294" sldId="2147483673"/>
              <ac:spMk id="56" creationId="{4C09DF0F-DF32-2097-58A5-0C699CFA41BB}"/>
            </ac:spMkLst>
          </pc:spChg>
          <pc:graphicFrameChg chg="mod">
            <ac:chgData name="Linda Lier" userId="c5892826d897d3cd" providerId="LiveId" clId="{7068258B-AE26-41AE-BE70-95AF9FB41401}" dt="2026-01-22T23:03:54.405" v="635"/>
            <ac:graphicFrameMkLst>
              <pc:docMk/>
              <pc:sldMasterMk cId="4036943338" sldId="2147483672"/>
              <pc:sldLayoutMk cId="1376026294" sldId="2147483673"/>
              <ac:graphicFrameMk id="7" creationId="{33B562A0-3D6C-45D0-9E85-8A28A804D0F1}"/>
            </ac:graphicFrameMkLst>
          </pc:graphicFrameChg>
          <pc:picChg chg="add mod ord modCrop">
            <ac:chgData name="Linda Lier" userId="c5892826d897d3cd" providerId="LiveId" clId="{7068258B-AE26-41AE-BE70-95AF9FB41401}" dt="2026-01-22T23:03:58.803" v="636" actId="18131"/>
            <ac:picMkLst>
              <pc:docMk/>
              <pc:sldMasterMk cId="4036943338" sldId="2147483672"/>
              <pc:sldLayoutMk cId="1376026294" sldId="2147483673"/>
              <ac:picMk id="3" creationId="{0C043331-36FE-DAD8-42D4-6268D17DCF06}"/>
            </ac:picMkLst>
          </pc:picChg>
          <pc:picChg chg="del mod ord">
            <ac:chgData name="Linda Lier" userId="c5892826d897d3cd" providerId="LiveId" clId="{7068258B-AE26-41AE-BE70-95AF9FB41401}" dt="2026-01-22T23:09:42.684" v="783" actId="478"/>
            <ac:picMkLst>
              <pc:docMk/>
              <pc:sldMasterMk cId="4036943338" sldId="2147483672"/>
              <pc:sldLayoutMk cId="1376026294" sldId="2147483673"/>
              <ac:picMk id="4" creationId="{E8E6C8D9-6B29-6B3E-68FB-522A9714056C}"/>
            </ac:picMkLst>
          </pc:picChg>
          <pc:picChg chg="add mod">
            <ac:chgData name="Linda Lier" userId="c5892826d897d3cd" providerId="LiveId" clId="{7068258B-AE26-41AE-BE70-95AF9FB41401}" dt="2026-01-22T23:12:26.823" v="810" actId="1076"/>
            <ac:picMkLst>
              <pc:docMk/>
              <pc:sldMasterMk cId="4036943338" sldId="2147483672"/>
              <pc:sldLayoutMk cId="1376026294" sldId="2147483673"/>
              <ac:picMk id="9" creationId="{666BC0DF-7C80-07CB-A76D-9F88EC41890D}"/>
            </ac:picMkLst>
          </pc:picChg>
          <pc:picChg chg="del">
            <ac:chgData name="Linda Lier" userId="c5892826d897d3cd" providerId="LiveId" clId="{7068258B-AE26-41AE-BE70-95AF9FB41401}" dt="2026-01-22T22:58:35.159" v="464" actId="478"/>
            <ac:picMkLst>
              <pc:docMk/>
              <pc:sldMasterMk cId="4036943338" sldId="2147483672"/>
              <pc:sldLayoutMk cId="1376026294" sldId="2147483673"/>
              <ac:picMk id="44" creationId="{472101CB-1F8B-ACAB-8388-7C6970A3DFF9}"/>
            </ac:picMkLst>
          </pc:picChg>
          <pc:picChg chg="add del mod">
            <ac:chgData name="Linda Lier" userId="c5892826d897d3cd" providerId="LiveId" clId="{7068258B-AE26-41AE-BE70-95AF9FB41401}" dt="2026-01-22T23:12:21.864" v="807" actId="478"/>
            <ac:picMkLst>
              <pc:docMk/>
              <pc:sldMasterMk cId="4036943338" sldId="2147483672"/>
              <pc:sldLayoutMk cId="1376026294" sldId="2147483673"/>
              <ac:picMk id="1028" creationId="{2D6604F3-47DD-9B77-2468-654A994112D8}"/>
            </ac:picMkLst>
          </pc:picChg>
        </pc:sldLayoutChg>
        <pc:sldLayoutChg chg="modSp mod">
          <pc:chgData name="Linda Lier" userId="c5892826d897d3cd" providerId="LiveId" clId="{7068258B-AE26-41AE-BE70-95AF9FB41401}" dt="2026-01-22T22:55:45.885" v="310" actId="299"/>
          <pc:sldLayoutMkLst>
            <pc:docMk/>
            <pc:sldMasterMk cId="4036943338" sldId="2147483672"/>
            <pc:sldLayoutMk cId="4168664599" sldId="2147483675"/>
          </pc:sldLayoutMkLst>
          <pc:spChg chg="mod">
            <ac:chgData name="Linda Lier" userId="c5892826d897d3cd" providerId="LiveId" clId="{7068258B-AE26-41AE-BE70-95AF9FB41401}" dt="2026-01-22T22:55:45.885" v="310" actId="299"/>
            <ac:spMkLst>
              <pc:docMk/>
              <pc:sldMasterMk cId="4036943338" sldId="2147483672"/>
              <pc:sldLayoutMk cId="4168664599" sldId="2147483675"/>
              <ac:spMk id="10" creationId="{8326FFD0-8389-4032-AAB8-00C262CAF746}"/>
            </ac:spMkLst>
          </pc:spChg>
        </pc:sldLayoutChg>
        <pc:sldLayoutChg chg="modSp mod">
          <pc:chgData name="Linda Lier" userId="c5892826d897d3cd" providerId="LiveId" clId="{7068258B-AE26-41AE-BE70-95AF9FB41401}" dt="2026-01-22T22:55:45.875" v="307" actId="299"/>
          <pc:sldLayoutMkLst>
            <pc:docMk/>
            <pc:sldMasterMk cId="4036943338" sldId="2147483672"/>
            <pc:sldLayoutMk cId="2157876094" sldId="2147483676"/>
          </pc:sldLayoutMkLst>
          <pc:spChg chg="mod">
            <ac:chgData name="Linda Lier" userId="c5892826d897d3cd" providerId="LiveId" clId="{7068258B-AE26-41AE-BE70-95AF9FB41401}" dt="2026-01-22T22:55:45.875" v="307" actId="299"/>
            <ac:spMkLst>
              <pc:docMk/>
              <pc:sldMasterMk cId="4036943338" sldId="2147483672"/>
              <pc:sldLayoutMk cId="2157876094" sldId="2147483676"/>
              <ac:spMk id="3" creationId="{064E079D-5BD2-4787-A7F2-0859A1CB5E94}"/>
            </ac:spMkLst>
          </pc:spChg>
        </pc:sldLayoutChg>
        <pc:sldLayoutChg chg="modSp mod">
          <pc:chgData name="Linda Lier" userId="c5892826d897d3cd" providerId="LiveId" clId="{7068258B-AE26-41AE-BE70-95AF9FB41401}" dt="2026-01-22T22:55:45.943" v="325" actId="299"/>
          <pc:sldLayoutMkLst>
            <pc:docMk/>
            <pc:sldMasterMk cId="4036943338" sldId="2147483672"/>
            <pc:sldLayoutMk cId="2765389613" sldId="2147483677"/>
          </pc:sldLayoutMkLst>
          <pc:spChg chg="mod">
            <ac:chgData name="Linda Lier" userId="c5892826d897d3cd" providerId="LiveId" clId="{7068258B-AE26-41AE-BE70-95AF9FB41401}" dt="2026-01-22T22:55:45.943" v="325" actId="299"/>
            <ac:spMkLst>
              <pc:docMk/>
              <pc:sldMasterMk cId="4036943338" sldId="2147483672"/>
              <pc:sldLayoutMk cId="2765389613" sldId="2147483677"/>
              <ac:spMk id="3" creationId="{064E079D-5BD2-4787-A7F2-0859A1CB5E94}"/>
            </ac:spMkLst>
          </pc:spChg>
        </pc:sldLayoutChg>
        <pc:sldLayoutChg chg="modSp mod">
          <pc:chgData name="Linda Lier" userId="c5892826d897d3cd" providerId="LiveId" clId="{7068258B-AE26-41AE-BE70-95AF9FB41401}" dt="2026-01-22T22:55:45.926" v="319" actId="299"/>
          <pc:sldLayoutMkLst>
            <pc:docMk/>
            <pc:sldMasterMk cId="4036943338" sldId="2147483672"/>
            <pc:sldLayoutMk cId="1132130052" sldId="2147483678"/>
          </pc:sldLayoutMkLst>
          <pc:spChg chg="mod">
            <ac:chgData name="Linda Lier" userId="c5892826d897d3cd" providerId="LiveId" clId="{7068258B-AE26-41AE-BE70-95AF9FB41401}" dt="2026-01-22T22:55:45.926" v="319" actId="299"/>
            <ac:spMkLst>
              <pc:docMk/>
              <pc:sldMasterMk cId="4036943338" sldId="2147483672"/>
              <pc:sldLayoutMk cId="1132130052" sldId="2147483678"/>
              <ac:spMk id="7" creationId="{99495DFD-8D6A-4DD8-AE3A-47FA42AA0A4F}"/>
            </ac:spMkLst>
          </pc:spChg>
        </pc:sldLayoutChg>
        <pc:sldLayoutChg chg="addSp delSp modSp mod">
          <pc:chgData name="Linda Lier" userId="c5892826d897d3cd" providerId="LiveId" clId="{7068258B-AE26-41AE-BE70-95AF9FB41401}" dt="2026-01-22T23:16:40.930" v="889" actId="207"/>
          <pc:sldLayoutMkLst>
            <pc:docMk/>
            <pc:sldMasterMk cId="4036943338" sldId="2147483672"/>
            <pc:sldLayoutMk cId="1859080533" sldId="2147483680"/>
          </pc:sldLayoutMkLst>
          <pc:spChg chg="mod">
            <ac:chgData name="Linda Lier" userId="c5892826d897d3cd" providerId="LiveId" clId="{7068258B-AE26-41AE-BE70-95AF9FB41401}" dt="2026-01-22T23:07:41.181" v="746" actId="108"/>
            <ac:spMkLst>
              <pc:docMk/>
              <pc:sldMasterMk cId="4036943338" sldId="2147483672"/>
              <pc:sldLayoutMk cId="1859080533" sldId="2147483680"/>
              <ac:spMk id="6" creationId="{3FA229FA-A3E6-464F-8FAE-54175450EBEB}"/>
            </ac:spMkLst>
          </pc:spChg>
          <pc:spChg chg="mod">
            <ac:chgData name="Linda Lier" userId="c5892826d897d3cd" providerId="LiveId" clId="{7068258B-AE26-41AE-BE70-95AF9FB41401}" dt="2026-01-22T22:55:45.900" v="313" actId="299"/>
            <ac:spMkLst>
              <pc:docMk/>
              <pc:sldMasterMk cId="4036943338" sldId="2147483672"/>
              <pc:sldLayoutMk cId="1859080533" sldId="2147483680"/>
              <ac:spMk id="19" creationId="{6647A441-8DE4-4236-BCC7-B694B2C59E00}"/>
            </ac:spMkLst>
          </pc:spChg>
          <pc:grpChg chg="del">
            <ac:chgData name="Linda Lier" userId="c5892826d897d3cd" providerId="LiveId" clId="{7068258B-AE26-41AE-BE70-95AF9FB41401}" dt="2026-01-22T23:16:36.235" v="887" actId="478"/>
            <ac:grpSpMkLst>
              <pc:docMk/>
              <pc:sldMasterMk cId="4036943338" sldId="2147483672"/>
              <pc:sldLayoutMk cId="1859080533" sldId="2147483680"/>
              <ac:grpSpMk id="2" creationId="{C32BF310-57FD-BF42-B56F-492E8CD87910}"/>
            </ac:grpSpMkLst>
          </pc:grpChg>
          <pc:picChg chg="add mod">
            <ac:chgData name="Linda Lier" userId="c5892826d897d3cd" providerId="LiveId" clId="{7068258B-AE26-41AE-BE70-95AF9FB41401}" dt="2026-01-22T23:16:40.930" v="889" actId="207"/>
            <ac:picMkLst>
              <pc:docMk/>
              <pc:sldMasterMk cId="4036943338" sldId="2147483672"/>
              <pc:sldLayoutMk cId="1859080533" sldId="2147483680"/>
              <ac:picMk id="5" creationId="{6B4FD791-29BA-78C2-0832-14BB4DE62D85}"/>
            </ac:picMkLst>
          </pc:picChg>
        </pc:sldLayoutChg>
        <pc:sldLayoutChg chg="addSp delSp modSp mod">
          <pc:chgData name="Linda Lier" userId="c5892826d897d3cd" providerId="LiveId" clId="{7068258B-AE26-41AE-BE70-95AF9FB41401}" dt="2026-01-22T23:16:48.938" v="891"/>
          <pc:sldLayoutMkLst>
            <pc:docMk/>
            <pc:sldMasterMk cId="4036943338" sldId="2147483672"/>
            <pc:sldLayoutMk cId="1137808804" sldId="2147483681"/>
          </pc:sldLayoutMkLst>
          <pc:spChg chg="mod">
            <ac:chgData name="Linda Lier" userId="c5892826d897d3cd" providerId="LiveId" clId="{7068258B-AE26-41AE-BE70-95AF9FB41401}" dt="2026-01-22T23:07:40.456" v="745" actId="108"/>
            <ac:spMkLst>
              <pc:docMk/>
              <pc:sldMasterMk cId="4036943338" sldId="2147483672"/>
              <pc:sldLayoutMk cId="1137808804" sldId="2147483681"/>
              <ac:spMk id="6" creationId="{3FA229FA-A3E6-464F-8FAE-54175450EBEB}"/>
            </ac:spMkLst>
          </pc:spChg>
          <pc:spChg chg="mod">
            <ac:chgData name="Linda Lier" userId="c5892826d897d3cd" providerId="LiveId" clId="{7068258B-AE26-41AE-BE70-95AF9FB41401}" dt="2026-01-22T22:55:45.914" v="316" actId="299"/>
            <ac:spMkLst>
              <pc:docMk/>
              <pc:sldMasterMk cId="4036943338" sldId="2147483672"/>
              <pc:sldLayoutMk cId="1137808804" sldId="2147483681"/>
              <ac:spMk id="19" creationId="{4EF89F43-35C6-451B-BBE8-87D2B8B83F5E}"/>
            </ac:spMkLst>
          </pc:spChg>
          <pc:grpChg chg="del">
            <ac:chgData name="Linda Lier" userId="c5892826d897d3cd" providerId="LiveId" clId="{7068258B-AE26-41AE-BE70-95AF9FB41401}" dt="2026-01-22T23:16:48.545" v="890" actId="478"/>
            <ac:grpSpMkLst>
              <pc:docMk/>
              <pc:sldMasterMk cId="4036943338" sldId="2147483672"/>
              <pc:sldLayoutMk cId="1137808804" sldId="2147483681"/>
              <ac:grpSpMk id="5" creationId="{38720DF9-2588-C5F5-CD8C-8A336B6F8686}"/>
            </ac:grpSpMkLst>
          </pc:grpChg>
          <pc:picChg chg="add mod">
            <ac:chgData name="Linda Lier" userId="c5892826d897d3cd" providerId="LiveId" clId="{7068258B-AE26-41AE-BE70-95AF9FB41401}" dt="2026-01-22T23:16:48.938" v="891"/>
            <ac:picMkLst>
              <pc:docMk/>
              <pc:sldMasterMk cId="4036943338" sldId="2147483672"/>
              <pc:sldLayoutMk cId="1137808804" sldId="2147483681"/>
              <ac:picMk id="2" creationId="{98176004-C314-78F3-EDFD-56E506871839}"/>
            </ac:picMkLst>
          </pc:picChg>
        </pc:sldLayoutChg>
        <pc:sldLayoutChg chg="addSp delSp modSp mod">
          <pc:chgData name="Linda Lier" userId="c5892826d897d3cd" providerId="LiveId" clId="{7068258B-AE26-41AE-BE70-95AF9FB41401}" dt="2026-01-22T23:16:50.893" v="893"/>
          <pc:sldLayoutMkLst>
            <pc:docMk/>
            <pc:sldMasterMk cId="4036943338" sldId="2147483672"/>
            <pc:sldLayoutMk cId="1470220513" sldId="2147483682"/>
          </pc:sldLayoutMkLst>
          <pc:spChg chg="mod">
            <ac:chgData name="Linda Lier" userId="c5892826d897d3cd" providerId="LiveId" clId="{7068258B-AE26-41AE-BE70-95AF9FB41401}" dt="2026-01-22T23:07:39.809" v="744" actId="108"/>
            <ac:spMkLst>
              <pc:docMk/>
              <pc:sldMasterMk cId="4036943338" sldId="2147483672"/>
              <pc:sldLayoutMk cId="1470220513" sldId="2147483682"/>
              <ac:spMk id="7" creationId="{2365F90A-9CD8-40EE-93CD-2729135A9569}"/>
            </ac:spMkLst>
          </pc:spChg>
          <pc:spChg chg="mod">
            <ac:chgData name="Linda Lier" userId="c5892826d897d3cd" providerId="LiveId" clId="{7068258B-AE26-41AE-BE70-95AF9FB41401}" dt="2026-01-22T22:55:45.959" v="328" actId="299"/>
            <ac:spMkLst>
              <pc:docMk/>
              <pc:sldMasterMk cId="4036943338" sldId="2147483672"/>
              <pc:sldLayoutMk cId="1470220513" sldId="2147483682"/>
              <ac:spMk id="19" creationId="{8FFC5EFA-01A0-4033-8D7E-3C2B1F490A33}"/>
            </ac:spMkLst>
          </pc:spChg>
          <pc:grpChg chg="del">
            <ac:chgData name="Linda Lier" userId="c5892826d897d3cd" providerId="LiveId" clId="{7068258B-AE26-41AE-BE70-95AF9FB41401}" dt="2026-01-22T23:16:50.695" v="892" actId="478"/>
            <ac:grpSpMkLst>
              <pc:docMk/>
              <pc:sldMasterMk cId="4036943338" sldId="2147483672"/>
              <pc:sldLayoutMk cId="1470220513" sldId="2147483682"/>
              <ac:grpSpMk id="5" creationId="{2CE28D96-3C22-3589-054E-FE8CD9D96A7A}"/>
            </ac:grpSpMkLst>
          </pc:grpChg>
          <pc:picChg chg="add mod">
            <ac:chgData name="Linda Lier" userId="c5892826d897d3cd" providerId="LiveId" clId="{7068258B-AE26-41AE-BE70-95AF9FB41401}" dt="2026-01-22T23:16:50.893" v="893"/>
            <ac:picMkLst>
              <pc:docMk/>
              <pc:sldMasterMk cId="4036943338" sldId="2147483672"/>
              <pc:sldLayoutMk cId="1470220513" sldId="2147483682"/>
              <ac:picMk id="2" creationId="{6E240E84-C599-4CEB-5F1C-7B1ABDE5110F}"/>
            </ac:picMkLst>
          </pc:picChg>
        </pc:sldLayoutChg>
        <pc:sldLayoutChg chg="addSp delSp modSp mod">
          <pc:chgData name="Linda Lier" userId="c5892826d897d3cd" providerId="LiveId" clId="{7068258B-AE26-41AE-BE70-95AF9FB41401}" dt="2026-01-22T23:16:54.313" v="895"/>
          <pc:sldLayoutMkLst>
            <pc:docMk/>
            <pc:sldMasterMk cId="4036943338" sldId="2147483672"/>
            <pc:sldLayoutMk cId="4251387624" sldId="2147483683"/>
          </pc:sldLayoutMkLst>
          <pc:spChg chg="mod">
            <ac:chgData name="Linda Lier" userId="c5892826d897d3cd" providerId="LiveId" clId="{7068258B-AE26-41AE-BE70-95AF9FB41401}" dt="2026-01-22T23:07:39.040" v="743" actId="108"/>
            <ac:spMkLst>
              <pc:docMk/>
              <pc:sldMasterMk cId="4036943338" sldId="2147483672"/>
              <pc:sldLayoutMk cId="4251387624" sldId="2147483683"/>
              <ac:spMk id="7" creationId="{2365F90A-9CD8-40EE-93CD-2729135A9569}"/>
            </ac:spMkLst>
          </pc:spChg>
          <pc:spChg chg="mod">
            <ac:chgData name="Linda Lier" userId="c5892826d897d3cd" providerId="LiveId" clId="{7068258B-AE26-41AE-BE70-95AF9FB41401}" dt="2026-01-22T22:55:45.972" v="331" actId="299"/>
            <ac:spMkLst>
              <pc:docMk/>
              <pc:sldMasterMk cId="4036943338" sldId="2147483672"/>
              <pc:sldLayoutMk cId="4251387624" sldId="2147483683"/>
              <ac:spMk id="19" creationId="{0415F114-7B0E-43F2-8881-F0D9FB2A643B}"/>
            </ac:spMkLst>
          </pc:spChg>
          <pc:grpChg chg="del">
            <ac:chgData name="Linda Lier" userId="c5892826d897d3cd" providerId="LiveId" clId="{7068258B-AE26-41AE-BE70-95AF9FB41401}" dt="2026-01-22T23:16:54.138" v="894" actId="478"/>
            <ac:grpSpMkLst>
              <pc:docMk/>
              <pc:sldMasterMk cId="4036943338" sldId="2147483672"/>
              <pc:sldLayoutMk cId="4251387624" sldId="2147483683"/>
              <ac:grpSpMk id="5" creationId="{46A7A69A-8877-D08A-9FBF-9DF0453AFEC7}"/>
            </ac:grpSpMkLst>
          </pc:grpChg>
          <pc:picChg chg="add mod">
            <ac:chgData name="Linda Lier" userId="c5892826d897d3cd" providerId="LiveId" clId="{7068258B-AE26-41AE-BE70-95AF9FB41401}" dt="2026-01-22T23:16:54.313" v="895"/>
            <ac:picMkLst>
              <pc:docMk/>
              <pc:sldMasterMk cId="4036943338" sldId="2147483672"/>
              <pc:sldLayoutMk cId="4251387624" sldId="2147483683"/>
              <ac:picMk id="2" creationId="{551CADE7-93B6-E3C3-7FC2-6F6D5D144112}"/>
            </ac:picMkLst>
          </pc:picChg>
        </pc:sldLayoutChg>
        <pc:sldLayoutChg chg="addSp modSp mod">
          <pc:chgData name="Linda Lier" userId="c5892826d897d3cd" providerId="LiveId" clId="{7068258B-AE26-41AE-BE70-95AF9FB41401}" dt="2026-01-22T23:16:55.606" v="896"/>
          <pc:sldLayoutMkLst>
            <pc:docMk/>
            <pc:sldMasterMk cId="4036943338" sldId="2147483672"/>
            <pc:sldLayoutMk cId="1609934927" sldId="2147483684"/>
          </pc:sldLayoutMkLst>
          <pc:spChg chg="mod">
            <ac:chgData name="Linda Lier" userId="c5892826d897d3cd" providerId="LiveId" clId="{7068258B-AE26-41AE-BE70-95AF9FB41401}" dt="2026-01-22T22:55:45.984" v="334" actId="299"/>
            <ac:spMkLst>
              <pc:docMk/>
              <pc:sldMasterMk cId="4036943338" sldId="2147483672"/>
              <pc:sldLayoutMk cId="1609934927" sldId="2147483684"/>
              <ac:spMk id="19" creationId="{8FFC5EFA-01A0-4033-8D7E-3C2B1F490A33}"/>
            </ac:spMkLst>
          </pc:spChg>
          <pc:spChg chg="mod">
            <ac:chgData name="Linda Lier" userId="c5892826d897d3cd" providerId="LiveId" clId="{7068258B-AE26-41AE-BE70-95AF9FB41401}" dt="2026-01-22T23:07:37.102" v="742" actId="108"/>
            <ac:spMkLst>
              <pc:docMk/>
              <pc:sldMasterMk cId="4036943338" sldId="2147483672"/>
              <pc:sldLayoutMk cId="1609934927" sldId="2147483684"/>
              <ac:spMk id="23" creationId="{A80E2F68-4ED6-42EF-9858-2FE4B1382825}"/>
            </ac:spMkLst>
          </pc:spChg>
          <pc:picChg chg="add mod">
            <ac:chgData name="Linda Lier" userId="c5892826d897d3cd" providerId="LiveId" clId="{7068258B-AE26-41AE-BE70-95AF9FB41401}" dt="2026-01-22T23:16:55.606" v="896"/>
            <ac:picMkLst>
              <pc:docMk/>
              <pc:sldMasterMk cId="4036943338" sldId="2147483672"/>
              <pc:sldLayoutMk cId="1609934927" sldId="2147483684"/>
              <ac:picMk id="2" creationId="{B2816F82-6EE5-6AF9-423A-026B6D32DAE0}"/>
            </ac:picMkLst>
          </pc:picChg>
        </pc:sldLayoutChg>
        <pc:sldLayoutChg chg="addSp delSp modSp mod">
          <pc:chgData name="Linda Lier" userId="c5892826d897d3cd" providerId="LiveId" clId="{7068258B-AE26-41AE-BE70-95AF9FB41401}" dt="2026-01-22T23:16:59.826" v="898" actId="207"/>
          <pc:sldLayoutMkLst>
            <pc:docMk/>
            <pc:sldMasterMk cId="4036943338" sldId="2147483672"/>
            <pc:sldLayoutMk cId="1431007791" sldId="2147483685"/>
          </pc:sldLayoutMkLst>
          <pc:spChg chg="mod">
            <ac:chgData name="Linda Lier" userId="c5892826d897d3cd" providerId="LiveId" clId="{7068258B-AE26-41AE-BE70-95AF9FB41401}" dt="2026-01-22T23:07:32.893" v="740" actId="207"/>
            <ac:spMkLst>
              <pc:docMk/>
              <pc:sldMasterMk cId="4036943338" sldId="2147483672"/>
              <pc:sldLayoutMk cId="1431007791" sldId="2147483685"/>
              <ac:spMk id="6" creationId="{3FA229FA-A3E6-464F-8FAE-54175450EBEB}"/>
            </ac:spMkLst>
          </pc:spChg>
          <pc:spChg chg="mod">
            <ac:chgData name="Linda Lier" userId="c5892826d897d3cd" providerId="LiveId" clId="{7068258B-AE26-41AE-BE70-95AF9FB41401}" dt="2026-01-22T22:55:46.069" v="349" actId="299"/>
            <ac:spMkLst>
              <pc:docMk/>
              <pc:sldMasterMk cId="4036943338" sldId="2147483672"/>
              <pc:sldLayoutMk cId="1431007791" sldId="2147483685"/>
              <ac:spMk id="19" creationId="{6647A441-8DE4-4236-BCC7-B694B2C59E00}"/>
            </ac:spMkLst>
          </pc:spChg>
          <pc:spChg chg="del">
            <ac:chgData name="Linda Lier" userId="c5892826d897d3cd" providerId="LiveId" clId="{7068258B-AE26-41AE-BE70-95AF9FB41401}" dt="2026-01-22T23:12:47.782" v="812" actId="478"/>
            <ac:spMkLst>
              <pc:docMk/>
              <pc:sldMasterMk cId="4036943338" sldId="2147483672"/>
              <pc:sldLayoutMk cId="1431007791" sldId="2147483685"/>
              <ac:spMk id="37" creationId="{BA2780EC-1F69-D3F9-7095-DABF897BEB8C}"/>
            </ac:spMkLst>
          </pc:spChg>
          <pc:grpChg chg="del">
            <ac:chgData name="Linda Lier" userId="c5892826d897d3cd" providerId="LiveId" clId="{7068258B-AE26-41AE-BE70-95AF9FB41401}" dt="2026-01-22T23:16:12.944" v="880" actId="478"/>
            <ac:grpSpMkLst>
              <pc:docMk/>
              <pc:sldMasterMk cId="4036943338" sldId="2147483672"/>
              <pc:sldLayoutMk cId="1431007791" sldId="2147483685"/>
              <ac:grpSpMk id="8" creationId="{02A6248F-C8C7-9DF7-C29C-6C84B5A76987}"/>
            </ac:grpSpMkLst>
          </pc:grpChg>
          <pc:picChg chg="add mod">
            <ac:chgData name="Linda Lier" userId="c5892826d897d3cd" providerId="LiveId" clId="{7068258B-AE26-41AE-BE70-95AF9FB41401}" dt="2026-01-22T23:16:59.826" v="898" actId="207"/>
            <ac:picMkLst>
              <pc:docMk/>
              <pc:sldMasterMk cId="4036943338" sldId="2147483672"/>
              <pc:sldLayoutMk cId="1431007791" sldId="2147483685"/>
              <ac:picMk id="2" creationId="{F6A9404E-59ED-A1C9-B609-54611F079869}"/>
            </ac:picMkLst>
          </pc:picChg>
        </pc:sldLayoutChg>
        <pc:sldLayoutChg chg="addSp delSp modSp mod">
          <pc:chgData name="Linda Lier" userId="c5892826d897d3cd" providerId="LiveId" clId="{7068258B-AE26-41AE-BE70-95AF9FB41401}" dt="2026-01-22T23:17:01.738" v="899"/>
          <pc:sldLayoutMkLst>
            <pc:docMk/>
            <pc:sldMasterMk cId="4036943338" sldId="2147483672"/>
            <pc:sldLayoutMk cId="2240198873" sldId="2147483686"/>
          </pc:sldLayoutMkLst>
          <pc:spChg chg="mod">
            <ac:chgData name="Linda Lier" userId="c5892826d897d3cd" providerId="LiveId" clId="{7068258B-AE26-41AE-BE70-95AF9FB41401}" dt="2026-01-22T23:07:44.318" v="747" actId="108"/>
            <ac:spMkLst>
              <pc:docMk/>
              <pc:sldMasterMk cId="4036943338" sldId="2147483672"/>
              <pc:sldLayoutMk cId="2240198873" sldId="2147483686"/>
              <ac:spMk id="6" creationId="{3FA229FA-A3E6-464F-8FAE-54175450EBEB}"/>
            </ac:spMkLst>
          </pc:spChg>
          <pc:spChg chg="mod">
            <ac:chgData name="Linda Lier" userId="c5892826d897d3cd" providerId="LiveId" clId="{7068258B-AE26-41AE-BE70-95AF9FB41401}" dt="2026-01-22T22:55:45.994" v="337" actId="299"/>
            <ac:spMkLst>
              <pc:docMk/>
              <pc:sldMasterMk cId="4036943338" sldId="2147483672"/>
              <pc:sldLayoutMk cId="2240198873" sldId="2147483686"/>
              <ac:spMk id="19" creationId="{4EF89F43-35C6-451B-BBE8-87D2B8B83F5E}"/>
            </ac:spMkLst>
          </pc:spChg>
          <pc:spChg chg="del">
            <ac:chgData name="Linda Lier" userId="c5892826d897d3cd" providerId="LiveId" clId="{7068258B-AE26-41AE-BE70-95AF9FB41401}" dt="2026-01-22T23:12:49.179" v="813" actId="478"/>
            <ac:spMkLst>
              <pc:docMk/>
              <pc:sldMasterMk cId="4036943338" sldId="2147483672"/>
              <pc:sldLayoutMk cId="2240198873" sldId="2147483686"/>
              <ac:spMk id="36" creationId="{1E0A4E42-222A-E297-E1CF-6C4E2158A398}"/>
            </ac:spMkLst>
          </pc:spChg>
          <pc:grpChg chg="del">
            <ac:chgData name="Linda Lier" userId="c5892826d897d3cd" providerId="LiveId" clId="{7068258B-AE26-41AE-BE70-95AF9FB41401}" dt="2026-01-22T23:16:14.043" v="881" actId="478"/>
            <ac:grpSpMkLst>
              <pc:docMk/>
              <pc:sldMasterMk cId="4036943338" sldId="2147483672"/>
              <pc:sldLayoutMk cId="2240198873" sldId="2147483686"/>
              <ac:grpSpMk id="8" creationId="{16BEAE23-14F0-4628-D762-EAF64D54BE3B}"/>
            </ac:grpSpMkLst>
          </pc:grpChg>
          <pc:picChg chg="add mod">
            <ac:chgData name="Linda Lier" userId="c5892826d897d3cd" providerId="LiveId" clId="{7068258B-AE26-41AE-BE70-95AF9FB41401}" dt="2026-01-22T23:17:01.738" v="899"/>
            <ac:picMkLst>
              <pc:docMk/>
              <pc:sldMasterMk cId="4036943338" sldId="2147483672"/>
              <pc:sldLayoutMk cId="2240198873" sldId="2147483686"/>
              <ac:picMk id="2" creationId="{5DCDCE53-B05C-9D0D-77F9-C5D34C048C12}"/>
            </ac:picMkLst>
          </pc:picChg>
        </pc:sldLayoutChg>
        <pc:sldLayoutChg chg="addSp delSp modSp mod">
          <pc:chgData name="Linda Lier" userId="c5892826d897d3cd" providerId="LiveId" clId="{7068258B-AE26-41AE-BE70-95AF9FB41401}" dt="2026-01-22T23:17:02.398" v="900"/>
          <pc:sldLayoutMkLst>
            <pc:docMk/>
            <pc:sldMasterMk cId="4036943338" sldId="2147483672"/>
            <pc:sldLayoutMk cId="720595749" sldId="2147483687"/>
          </pc:sldLayoutMkLst>
          <pc:spChg chg="mod">
            <ac:chgData name="Linda Lier" userId="c5892826d897d3cd" providerId="LiveId" clId="{7068258B-AE26-41AE-BE70-95AF9FB41401}" dt="2026-01-22T23:07:45.120" v="748" actId="108"/>
            <ac:spMkLst>
              <pc:docMk/>
              <pc:sldMasterMk cId="4036943338" sldId="2147483672"/>
              <pc:sldLayoutMk cId="720595749" sldId="2147483687"/>
              <ac:spMk id="7" creationId="{2365F90A-9CD8-40EE-93CD-2729135A9569}"/>
            </ac:spMkLst>
          </pc:spChg>
          <pc:spChg chg="mod">
            <ac:chgData name="Linda Lier" userId="c5892826d897d3cd" providerId="LiveId" clId="{7068258B-AE26-41AE-BE70-95AF9FB41401}" dt="2026-01-22T22:55:46.054" v="346" actId="299"/>
            <ac:spMkLst>
              <pc:docMk/>
              <pc:sldMasterMk cId="4036943338" sldId="2147483672"/>
              <pc:sldLayoutMk cId="720595749" sldId="2147483687"/>
              <ac:spMk id="19" creationId="{8FFC5EFA-01A0-4033-8D7E-3C2B1F490A33}"/>
            </ac:spMkLst>
          </pc:spChg>
          <pc:spChg chg="del">
            <ac:chgData name="Linda Lier" userId="c5892826d897d3cd" providerId="LiveId" clId="{7068258B-AE26-41AE-BE70-95AF9FB41401}" dt="2026-01-22T23:12:50.201" v="814" actId="478"/>
            <ac:spMkLst>
              <pc:docMk/>
              <pc:sldMasterMk cId="4036943338" sldId="2147483672"/>
              <pc:sldLayoutMk cId="720595749" sldId="2147483687"/>
              <ac:spMk id="36" creationId="{D959C4CC-FCC3-749B-56EE-531461740B00}"/>
            </ac:spMkLst>
          </pc:spChg>
          <pc:grpChg chg="del">
            <ac:chgData name="Linda Lier" userId="c5892826d897d3cd" providerId="LiveId" clId="{7068258B-AE26-41AE-BE70-95AF9FB41401}" dt="2026-01-22T23:16:15.446" v="882" actId="478"/>
            <ac:grpSpMkLst>
              <pc:docMk/>
              <pc:sldMasterMk cId="4036943338" sldId="2147483672"/>
              <pc:sldLayoutMk cId="720595749" sldId="2147483687"/>
              <ac:grpSpMk id="8" creationId="{9B958D2A-3D59-11CF-2C70-D0A3823CB3C0}"/>
            </ac:grpSpMkLst>
          </pc:grpChg>
          <pc:picChg chg="add mod">
            <ac:chgData name="Linda Lier" userId="c5892826d897d3cd" providerId="LiveId" clId="{7068258B-AE26-41AE-BE70-95AF9FB41401}" dt="2026-01-22T23:17:02.398" v="900"/>
            <ac:picMkLst>
              <pc:docMk/>
              <pc:sldMasterMk cId="4036943338" sldId="2147483672"/>
              <pc:sldLayoutMk cId="720595749" sldId="2147483687"/>
              <ac:picMk id="2" creationId="{6939EBA8-9AC0-3C32-B464-810E086A83C5}"/>
            </ac:picMkLst>
          </pc:picChg>
        </pc:sldLayoutChg>
        <pc:sldLayoutChg chg="addSp delSp modSp mod">
          <pc:chgData name="Linda Lier" userId="c5892826d897d3cd" providerId="LiveId" clId="{7068258B-AE26-41AE-BE70-95AF9FB41401}" dt="2026-01-22T23:17:03.668" v="901"/>
          <pc:sldLayoutMkLst>
            <pc:docMk/>
            <pc:sldMasterMk cId="4036943338" sldId="2147483672"/>
            <pc:sldLayoutMk cId="2946351292" sldId="2147483688"/>
          </pc:sldLayoutMkLst>
          <pc:spChg chg="mod">
            <ac:chgData name="Linda Lier" userId="c5892826d897d3cd" providerId="LiveId" clId="{7068258B-AE26-41AE-BE70-95AF9FB41401}" dt="2026-01-22T23:07:45.736" v="749" actId="108"/>
            <ac:spMkLst>
              <pc:docMk/>
              <pc:sldMasterMk cId="4036943338" sldId="2147483672"/>
              <pc:sldLayoutMk cId="2946351292" sldId="2147483688"/>
              <ac:spMk id="7" creationId="{2365F90A-9CD8-40EE-93CD-2729135A9569}"/>
            </ac:spMkLst>
          </pc:spChg>
          <pc:spChg chg="mod">
            <ac:chgData name="Linda Lier" userId="c5892826d897d3cd" providerId="LiveId" clId="{7068258B-AE26-41AE-BE70-95AF9FB41401}" dt="2026-01-22T22:55:46.041" v="343" actId="299"/>
            <ac:spMkLst>
              <pc:docMk/>
              <pc:sldMasterMk cId="4036943338" sldId="2147483672"/>
              <pc:sldLayoutMk cId="2946351292" sldId="2147483688"/>
              <ac:spMk id="19" creationId="{0415F114-7B0E-43F2-8881-F0D9FB2A643B}"/>
            </ac:spMkLst>
          </pc:spChg>
          <pc:spChg chg="del">
            <ac:chgData name="Linda Lier" userId="c5892826d897d3cd" providerId="LiveId" clId="{7068258B-AE26-41AE-BE70-95AF9FB41401}" dt="2026-01-22T23:12:51.360" v="815" actId="478"/>
            <ac:spMkLst>
              <pc:docMk/>
              <pc:sldMasterMk cId="4036943338" sldId="2147483672"/>
              <pc:sldLayoutMk cId="2946351292" sldId="2147483688"/>
              <ac:spMk id="36" creationId="{D383D6C4-EBC6-A571-CA53-6B6FAFA3A3B8}"/>
            </ac:spMkLst>
          </pc:spChg>
          <pc:grpChg chg="del">
            <ac:chgData name="Linda Lier" userId="c5892826d897d3cd" providerId="LiveId" clId="{7068258B-AE26-41AE-BE70-95AF9FB41401}" dt="2026-01-22T23:16:16.751" v="883" actId="478"/>
            <ac:grpSpMkLst>
              <pc:docMk/>
              <pc:sldMasterMk cId="4036943338" sldId="2147483672"/>
              <pc:sldLayoutMk cId="2946351292" sldId="2147483688"/>
              <ac:grpSpMk id="8" creationId="{A5797286-80FA-1321-B3EE-18BF1834725B}"/>
            </ac:grpSpMkLst>
          </pc:grpChg>
          <pc:picChg chg="add mod">
            <ac:chgData name="Linda Lier" userId="c5892826d897d3cd" providerId="LiveId" clId="{7068258B-AE26-41AE-BE70-95AF9FB41401}" dt="2026-01-22T23:17:03.668" v="901"/>
            <ac:picMkLst>
              <pc:docMk/>
              <pc:sldMasterMk cId="4036943338" sldId="2147483672"/>
              <pc:sldLayoutMk cId="2946351292" sldId="2147483688"/>
              <ac:picMk id="2" creationId="{593BEA1E-1746-A027-757C-8242E2110A40}"/>
            </ac:picMkLst>
          </pc:picChg>
        </pc:sldLayoutChg>
        <pc:sldLayoutChg chg="addSp delSp modSp mod">
          <pc:chgData name="Linda Lier" userId="c5892826d897d3cd" providerId="LiveId" clId="{7068258B-AE26-41AE-BE70-95AF9FB41401}" dt="2026-01-22T23:17:05.019" v="902"/>
          <pc:sldLayoutMkLst>
            <pc:docMk/>
            <pc:sldMasterMk cId="4036943338" sldId="2147483672"/>
            <pc:sldLayoutMk cId="3934825952" sldId="2147483689"/>
          </pc:sldLayoutMkLst>
          <pc:spChg chg="mod">
            <ac:chgData name="Linda Lier" userId="c5892826d897d3cd" providerId="LiveId" clId="{7068258B-AE26-41AE-BE70-95AF9FB41401}" dt="2026-01-22T22:55:46.088" v="352" actId="299"/>
            <ac:spMkLst>
              <pc:docMk/>
              <pc:sldMasterMk cId="4036943338" sldId="2147483672"/>
              <pc:sldLayoutMk cId="3934825952" sldId="2147483689"/>
              <ac:spMk id="19" creationId="{8FFC5EFA-01A0-4033-8D7E-3C2B1F490A33}"/>
            </ac:spMkLst>
          </pc:spChg>
          <pc:spChg chg="mod">
            <ac:chgData name="Linda Lier" userId="c5892826d897d3cd" providerId="LiveId" clId="{7068258B-AE26-41AE-BE70-95AF9FB41401}" dt="2026-01-22T23:07:46.350" v="750" actId="108"/>
            <ac:spMkLst>
              <pc:docMk/>
              <pc:sldMasterMk cId="4036943338" sldId="2147483672"/>
              <pc:sldLayoutMk cId="3934825952" sldId="2147483689"/>
              <ac:spMk id="23" creationId="{A80E2F68-4ED6-42EF-9858-2FE4B1382825}"/>
            </ac:spMkLst>
          </pc:spChg>
          <pc:spChg chg="del">
            <ac:chgData name="Linda Lier" userId="c5892826d897d3cd" providerId="LiveId" clId="{7068258B-AE26-41AE-BE70-95AF9FB41401}" dt="2026-01-22T23:12:52.579" v="816" actId="478"/>
            <ac:spMkLst>
              <pc:docMk/>
              <pc:sldMasterMk cId="4036943338" sldId="2147483672"/>
              <pc:sldLayoutMk cId="3934825952" sldId="2147483689"/>
              <ac:spMk id="36" creationId="{49E64C8B-B901-6BA3-78A1-5F2E63C81DB5}"/>
            </ac:spMkLst>
          </pc:spChg>
          <pc:grpChg chg="del">
            <ac:chgData name="Linda Lier" userId="c5892826d897d3cd" providerId="LiveId" clId="{7068258B-AE26-41AE-BE70-95AF9FB41401}" dt="2026-01-22T23:16:17.732" v="884" actId="478"/>
            <ac:grpSpMkLst>
              <pc:docMk/>
              <pc:sldMasterMk cId="4036943338" sldId="2147483672"/>
              <pc:sldLayoutMk cId="3934825952" sldId="2147483689"/>
              <ac:grpSpMk id="7" creationId="{4E10503B-5F7B-EF2A-A124-994D35AE39A1}"/>
            </ac:grpSpMkLst>
          </pc:grpChg>
          <pc:picChg chg="add mod">
            <ac:chgData name="Linda Lier" userId="c5892826d897d3cd" providerId="LiveId" clId="{7068258B-AE26-41AE-BE70-95AF9FB41401}" dt="2026-01-22T23:17:05.019" v="902"/>
            <ac:picMkLst>
              <pc:docMk/>
              <pc:sldMasterMk cId="4036943338" sldId="2147483672"/>
              <pc:sldLayoutMk cId="3934825952" sldId="2147483689"/>
              <ac:picMk id="2" creationId="{561D2256-A209-517C-8772-DDF69F652AC4}"/>
            </ac:picMkLst>
          </pc:picChg>
        </pc:sldLayoutChg>
        <pc:sldLayoutChg chg="addSp delSp modSp mod">
          <pc:chgData name="Linda Lier" userId="c5892826d897d3cd" providerId="LiveId" clId="{7068258B-AE26-41AE-BE70-95AF9FB41401}" dt="2026-01-22T23:17:07.145" v="903"/>
          <pc:sldLayoutMkLst>
            <pc:docMk/>
            <pc:sldMasterMk cId="4036943338" sldId="2147483672"/>
            <pc:sldLayoutMk cId="1208121902" sldId="2147483695"/>
          </pc:sldLayoutMkLst>
          <pc:spChg chg="mod">
            <ac:chgData name="Linda Lier" userId="c5892826d897d3cd" providerId="LiveId" clId="{7068258B-AE26-41AE-BE70-95AF9FB41401}" dt="2026-01-22T22:55:46.102" v="355" actId="299"/>
            <ac:spMkLst>
              <pc:docMk/>
              <pc:sldMasterMk cId="4036943338" sldId="2147483672"/>
              <pc:sldLayoutMk cId="1208121902" sldId="2147483695"/>
              <ac:spMk id="4" creationId="{6C3D89FC-A4B9-4683-B64F-B0644150274F}"/>
            </ac:spMkLst>
          </pc:spChg>
          <pc:grpChg chg="del">
            <ac:chgData name="Linda Lier" userId="c5892826d897d3cd" providerId="LiveId" clId="{7068258B-AE26-41AE-BE70-95AF9FB41401}" dt="2026-01-22T23:16:18.950" v="885" actId="478"/>
            <ac:grpSpMkLst>
              <pc:docMk/>
              <pc:sldMasterMk cId="4036943338" sldId="2147483672"/>
              <pc:sldLayoutMk cId="1208121902" sldId="2147483695"/>
              <ac:grpSpMk id="5" creationId="{9A5B5A74-734B-00C2-EE41-B82EF8EEA458}"/>
            </ac:grpSpMkLst>
          </pc:grpChg>
          <pc:picChg chg="add mod">
            <ac:chgData name="Linda Lier" userId="c5892826d897d3cd" providerId="LiveId" clId="{7068258B-AE26-41AE-BE70-95AF9FB41401}" dt="2026-01-22T23:17:07.145" v="903"/>
            <ac:picMkLst>
              <pc:docMk/>
              <pc:sldMasterMk cId="4036943338" sldId="2147483672"/>
              <pc:sldLayoutMk cId="1208121902" sldId="2147483695"/>
              <ac:picMk id="32" creationId="{DDB21B8D-BA20-D1CA-3205-EBED28A8D87C}"/>
            </ac:picMkLst>
          </pc:picChg>
        </pc:sldLayoutChg>
        <pc:sldLayoutChg chg="delSp mod">
          <pc:chgData name="Linda Lier" userId="c5892826d897d3cd" providerId="LiveId" clId="{7068258B-AE26-41AE-BE70-95AF9FB41401}" dt="2026-01-22T23:16:20.480" v="886" actId="478"/>
          <pc:sldLayoutMkLst>
            <pc:docMk/>
            <pc:sldMasterMk cId="4036943338" sldId="2147483672"/>
            <pc:sldLayoutMk cId="1847528715" sldId="2147483696"/>
          </pc:sldLayoutMkLst>
          <pc:grpChg chg="del">
            <ac:chgData name="Linda Lier" userId="c5892826d897d3cd" providerId="LiveId" clId="{7068258B-AE26-41AE-BE70-95AF9FB41401}" dt="2026-01-22T23:16:20.480" v="886" actId="478"/>
            <ac:grpSpMkLst>
              <pc:docMk/>
              <pc:sldMasterMk cId="4036943338" sldId="2147483672"/>
              <pc:sldLayoutMk cId="1847528715" sldId="2147483696"/>
              <ac:grpSpMk id="4" creationId="{BB6EFCC0-5EFD-42A4-6B15-37E751403D63}"/>
            </ac:grpSpMkLst>
          </pc:grpChg>
          <pc:picChg chg="del">
            <ac:chgData name="Linda Lier" userId="c5892826d897d3cd" providerId="LiveId" clId="{7068258B-AE26-41AE-BE70-95AF9FB41401}" dt="2026-01-22T23:07:51.017" v="751" actId="478"/>
            <ac:picMkLst>
              <pc:docMk/>
              <pc:sldMasterMk cId="4036943338" sldId="2147483672"/>
              <pc:sldLayoutMk cId="1847528715" sldId="2147483696"/>
              <ac:picMk id="3" creationId="{12BEC220-AB7D-6258-E086-0F6626CCCDD7}"/>
            </ac:picMkLst>
          </pc:picChg>
        </pc:sldLayoutChg>
        <pc:sldLayoutChg chg="addSp delSp modSp mod ord setBg">
          <pc:chgData name="Linda Lier" userId="c5892826d897d3cd" providerId="LiveId" clId="{7068258B-AE26-41AE-BE70-95AF9FB41401}" dt="2026-01-22T23:17:13.379" v="906" actId="20578"/>
          <pc:sldLayoutMkLst>
            <pc:docMk/>
            <pc:sldMasterMk cId="4036943338" sldId="2147483672"/>
            <pc:sldLayoutMk cId="1955358286" sldId="2147483697"/>
          </pc:sldLayoutMkLst>
          <pc:spChg chg="del">
            <ac:chgData name="Linda Lier" userId="c5892826d897d3cd" providerId="LiveId" clId="{7068258B-AE26-41AE-BE70-95AF9FB41401}" dt="2026-01-22T23:08:08.384" v="757" actId="478"/>
            <ac:spMkLst>
              <pc:docMk/>
              <pc:sldMasterMk cId="4036943338" sldId="2147483672"/>
              <pc:sldLayoutMk cId="1955358286" sldId="2147483697"/>
              <ac:spMk id="9" creationId="{6982A9EE-ED1D-4D7E-84CA-3C36D0891D68}"/>
            </ac:spMkLst>
          </pc:spChg>
          <pc:grpChg chg="del">
            <ac:chgData name="Linda Lier" userId="c5892826d897d3cd" providerId="LiveId" clId="{7068258B-AE26-41AE-BE70-95AF9FB41401}" dt="2026-01-22T23:08:08.384" v="757" actId="478"/>
            <ac:grpSpMkLst>
              <pc:docMk/>
              <pc:sldMasterMk cId="4036943338" sldId="2147483672"/>
              <pc:sldLayoutMk cId="1955358286" sldId="2147483697"/>
              <ac:grpSpMk id="5" creationId="{5824FF37-7222-0828-CA4D-A7D767046862}"/>
            </ac:grpSpMkLst>
          </pc:grpChg>
          <pc:picChg chg="add del mod modCrop">
            <ac:chgData name="Linda Lier" userId="c5892826d897d3cd" providerId="LiveId" clId="{7068258B-AE26-41AE-BE70-95AF9FB41401}" dt="2026-01-22T23:13:00.061" v="817" actId="732"/>
            <ac:picMkLst>
              <pc:docMk/>
              <pc:sldMasterMk cId="4036943338" sldId="2147483672"/>
              <pc:sldLayoutMk cId="1955358286" sldId="2147483697"/>
              <ac:picMk id="3" creationId="{8C1322AE-7121-EBF2-9B26-075B48D2E399}"/>
            </ac:picMkLst>
          </pc:picChg>
          <pc:picChg chg="del">
            <ac:chgData name="Linda Lier" userId="c5892826d897d3cd" providerId="LiveId" clId="{7068258B-AE26-41AE-BE70-95AF9FB41401}" dt="2026-01-22T23:08:02.864" v="753" actId="478"/>
            <ac:picMkLst>
              <pc:docMk/>
              <pc:sldMasterMk cId="4036943338" sldId="2147483672"/>
              <pc:sldLayoutMk cId="1955358286" sldId="2147483697"/>
              <ac:picMk id="4" creationId="{81B51A71-5A16-9EA7-1F8A-F6145A7D92BB}"/>
            </ac:picMkLst>
          </pc:picChg>
          <pc:picChg chg="add del mod">
            <ac:chgData name="Linda Lier" userId="c5892826d897d3cd" providerId="LiveId" clId="{7068258B-AE26-41AE-BE70-95AF9FB41401}" dt="2026-01-22T23:08:19.210" v="761" actId="478"/>
            <ac:picMkLst>
              <pc:docMk/>
              <pc:sldMasterMk cId="4036943338" sldId="2147483672"/>
              <pc:sldLayoutMk cId="1955358286" sldId="2147483697"/>
              <ac:picMk id="8" creationId="{DE2308BD-6F48-F5A1-02CB-B218701BD87B}"/>
            </ac:picMkLst>
          </pc:picChg>
          <pc:picChg chg="add del mod">
            <ac:chgData name="Linda Lier" userId="c5892826d897d3cd" providerId="LiveId" clId="{7068258B-AE26-41AE-BE70-95AF9FB41401}" dt="2026-01-22T23:08:46.969" v="769" actId="478"/>
            <ac:picMkLst>
              <pc:docMk/>
              <pc:sldMasterMk cId="4036943338" sldId="2147483672"/>
              <pc:sldLayoutMk cId="1955358286" sldId="2147483697"/>
              <ac:picMk id="31" creationId="{75D1C22C-2BC5-661C-6794-A494E84F8B3C}"/>
            </ac:picMkLst>
          </pc:picChg>
          <pc:picChg chg="add del mod">
            <ac:chgData name="Linda Lier" userId="c5892826d897d3cd" providerId="LiveId" clId="{7068258B-AE26-41AE-BE70-95AF9FB41401}" dt="2026-01-22T23:08:55.047" v="773" actId="21"/>
            <ac:picMkLst>
              <pc:docMk/>
              <pc:sldMasterMk cId="4036943338" sldId="2147483672"/>
              <pc:sldLayoutMk cId="1955358286" sldId="2147483697"/>
              <ac:picMk id="32" creationId="{1C768E02-8DDA-6B96-48E1-E1C1740C99A0}"/>
            </ac:picMkLst>
          </pc:picChg>
          <pc:picChg chg="add mod">
            <ac:chgData name="Linda Lier" userId="c5892826d897d3cd" providerId="LiveId" clId="{7068258B-AE26-41AE-BE70-95AF9FB41401}" dt="2026-01-22T23:09:19.822" v="779"/>
            <ac:picMkLst>
              <pc:docMk/>
              <pc:sldMasterMk cId="4036943338" sldId="2147483672"/>
              <pc:sldLayoutMk cId="1955358286" sldId="2147483697"/>
              <ac:picMk id="33" creationId="{62BA31AA-5CD6-26E4-5785-983CFC6385C8}"/>
            </ac:picMkLst>
          </pc:picChg>
        </pc:sldLayoutChg>
        <pc:sldLayoutChg chg="delSp mod">
          <pc:chgData name="Linda Lier" userId="c5892826d897d3cd" providerId="LiveId" clId="{7068258B-AE26-41AE-BE70-95AF9FB41401}" dt="2026-01-22T23:13:03.887" v="818" actId="478"/>
          <pc:sldLayoutMkLst>
            <pc:docMk/>
            <pc:sldMasterMk cId="4036943338" sldId="2147483672"/>
            <pc:sldLayoutMk cId="3984203065" sldId="2147483698"/>
          </pc:sldLayoutMkLst>
          <pc:grpChg chg="del">
            <ac:chgData name="Linda Lier" userId="c5892826d897d3cd" providerId="LiveId" clId="{7068258B-AE26-41AE-BE70-95AF9FB41401}" dt="2026-01-22T23:13:03.887" v="818" actId="478"/>
            <ac:grpSpMkLst>
              <pc:docMk/>
              <pc:sldMasterMk cId="4036943338" sldId="2147483672"/>
              <pc:sldLayoutMk cId="3984203065" sldId="2147483698"/>
              <ac:grpSpMk id="4" creationId="{AED6C746-A71D-4B41-14FE-873CD08CB62B}"/>
            </ac:grpSpMkLst>
          </pc:grpChg>
          <pc:picChg chg="del">
            <ac:chgData name="Linda Lier" userId="c5892826d897d3cd" providerId="LiveId" clId="{7068258B-AE26-41AE-BE70-95AF9FB41401}" dt="2026-01-22T23:07:52.397" v="752" actId="478"/>
            <ac:picMkLst>
              <pc:docMk/>
              <pc:sldMasterMk cId="4036943338" sldId="2147483672"/>
              <pc:sldLayoutMk cId="3984203065" sldId="2147483698"/>
              <ac:picMk id="3" creationId="{9D50C671-41D2-F913-F3EE-CA24DC01EA5E}"/>
            </ac:picMkLst>
          </pc:picChg>
        </pc:sldLayoutChg>
        <pc:sldLayoutChg chg="modSp mod">
          <pc:chgData name="Linda Lier" userId="c5892826d897d3cd" providerId="LiveId" clId="{7068258B-AE26-41AE-BE70-95AF9FB41401}" dt="2026-01-22T22:55:46.113" v="358" actId="299"/>
          <pc:sldLayoutMkLst>
            <pc:docMk/>
            <pc:sldMasterMk cId="4036943338" sldId="2147483672"/>
            <pc:sldLayoutMk cId="1984713702" sldId="2147483700"/>
          </pc:sldLayoutMkLst>
          <pc:spChg chg="mod">
            <ac:chgData name="Linda Lier" userId="c5892826d897d3cd" providerId="LiveId" clId="{7068258B-AE26-41AE-BE70-95AF9FB41401}" dt="2026-01-22T22:55:46.113" v="358" actId="299"/>
            <ac:spMkLst>
              <pc:docMk/>
              <pc:sldMasterMk cId="4036943338" sldId="2147483672"/>
              <pc:sldLayoutMk cId="1984713702" sldId="2147483700"/>
              <ac:spMk id="2" creationId="{38AF6CE5-E047-55F4-98D4-D3ADADE87128}"/>
            </ac:spMkLst>
          </pc:spChg>
        </pc:sldLayoutChg>
        <pc:sldLayoutChg chg="modSp setBg">
          <pc:chgData name="Linda Lier" userId="c5892826d897d3cd" providerId="LiveId" clId="{7068258B-AE26-41AE-BE70-95AF9FB41401}" dt="2026-01-22T23:11:55.400" v="805"/>
          <pc:sldLayoutMkLst>
            <pc:docMk/>
            <pc:sldMasterMk cId="4036943338" sldId="2147483672"/>
            <pc:sldLayoutMk cId="1337049517" sldId="2147483725"/>
          </pc:sldLayoutMkLst>
          <pc:spChg chg="mod">
            <ac:chgData name="Linda Lier" userId="c5892826d897d3cd" providerId="LiveId" clId="{7068258B-AE26-41AE-BE70-95AF9FB41401}" dt="2026-01-22T22:55:17.953" v="62"/>
            <ac:spMkLst>
              <pc:docMk/>
              <pc:sldMasterMk cId="4036943338" sldId="2147483672"/>
              <pc:sldLayoutMk cId="1337049517" sldId="2147483725"/>
              <ac:spMk id="20" creationId="{AA4E4E19-7239-46DA-AE24-CE9556C9BE7D}"/>
            </ac:spMkLst>
          </pc:spChg>
        </pc:sldLayoutChg>
        <pc:sldLayoutChg chg="delSp modSp mod">
          <pc:chgData name="Linda Lier" userId="c5892826d897d3cd" providerId="LiveId" clId="{7068258B-AE26-41AE-BE70-95AF9FB41401}" dt="2026-01-22T23:06:55.044" v="738" actId="478"/>
          <pc:sldLayoutMkLst>
            <pc:docMk/>
            <pc:sldMasterMk cId="4036943338" sldId="2147483672"/>
            <pc:sldLayoutMk cId="3615740853" sldId="2147483726"/>
          </pc:sldLayoutMkLst>
          <pc:spChg chg="mod">
            <ac:chgData name="Linda Lier" userId="c5892826d897d3cd" providerId="LiveId" clId="{7068258B-AE26-41AE-BE70-95AF9FB41401}" dt="2026-01-22T22:55:45.857" v="304" actId="299"/>
            <ac:spMkLst>
              <pc:docMk/>
              <pc:sldMasterMk cId="4036943338" sldId="2147483672"/>
              <pc:sldLayoutMk cId="3615740853" sldId="2147483726"/>
              <ac:spMk id="10" creationId="{8326FFD0-8389-4032-AAB8-00C262CAF746}"/>
            </ac:spMkLst>
          </pc:spChg>
          <pc:picChg chg="del">
            <ac:chgData name="Linda Lier" userId="c5892826d897d3cd" providerId="LiveId" clId="{7068258B-AE26-41AE-BE70-95AF9FB41401}" dt="2026-01-22T23:06:55.044" v="738" actId="478"/>
            <ac:picMkLst>
              <pc:docMk/>
              <pc:sldMasterMk cId="4036943338" sldId="2147483672"/>
              <pc:sldLayoutMk cId="3615740853" sldId="2147483726"/>
              <ac:picMk id="2" creationId="{50B3788D-37E4-59C3-18DD-6214875CD712}"/>
            </ac:picMkLst>
          </pc:picChg>
        </pc:sldLayoutChg>
        <pc:sldLayoutChg chg="addSp delSp modSp add mod modTransition setBg">
          <pc:chgData name="Linda Lier" userId="c5892826d897d3cd" providerId="LiveId" clId="{7068258B-AE26-41AE-BE70-95AF9FB41401}" dt="2026-01-22T23:09:25.857" v="782"/>
          <pc:sldLayoutMkLst>
            <pc:docMk/>
            <pc:sldMasterMk cId="4036943338" sldId="2147483672"/>
            <pc:sldLayoutMk cId="925676361" sldId="2147483727"/>
          </pc:sldLayoutMkLst>
          <pc:picChg chg="del">
            <ac:chgData name="Linda Lier" userId="c5892826d897d3cd" providerId="LiveId" clId="{7068258B-AE26-41AE-BE70-95AF9FB41401}" dt="2026-01-22T23:09:01.644" v="775" actId="478"/>
            <ac:picMkLst>
              <pc:docMk/>
              <pc:sldMasterMk cId="4036943338" sldId="2147483672"/>
              <pc:sldLayoutMk cId="925676361" sldId="2147483727"/>
              <ac:picMk id="3" creationId="{8C1322AE-7121-EBF2-9B26-075B48D2E399}"/>
            </ac:picMkLst>
          </pc:picChg>
          <pc:picChg chg="add mod">
            <ac:chgData name="Linda Lier" userId="c5892826d897d3cd" providerId="LiveId" clId="{7068258B-AE26-41AE-BE70-95AF9FB41401}" dt="2026-01-22T23:09:25.857" v="782"/>
            <ac:picMkLst>
              <pc:docMk/>
              <pc:sldMasterMk cId="4036943338" sldId="2147483672"/>
              <pc:sldLayoutMk cId="925676361" sldId="2147483727"/>
              <ac:picMk id="4" creationId="{0B1D3C56-2952-163A-1076-6EBB313046AB}"/>
            </ac:picMkLst>
          </pc:picChg>
          <pc:picChg chg="add del mod">
            <ac:chgData name="Linda Lier" userId="c5892826d897d3cd" providerId="LiveId" clId="{7068258B-AE26-41AE-BE70-95AF9FB41401}" dt="2026-01-22T23:09:25.741" v="781" actId="478"/>
            <ac:picMkLst>
              <pc:docMk/>
              <pc:sldMasterMk cId="4036943338" sldId="2147483672"/>
              <pc:sldLayoutMk cId="925676361" sldId="2147483727"/>
              <ac:picMk id="32" creationId="{1C768E02-8DDA-6B96-48E1-E1C1740C99A0}"/>
            </ac:picMkLst>
          </pc:picChg>
        </pc:sldLayoutChg>
        <pc:sldLayoutChg chg="addSp delSp modSp add mod modTransition">
          <pc:chgData name="Linda Lier" userId="c5892826d897d3cd" providerId="LiveId" clId="{7068258B-AE26-41AE-BE70-95AF9FB41401}" dt="2026-01-22T23:15:35.628" v="855" actId="18131"/>
          <pc:sldLayoutMkLst>
            <pc:docMk/>
            <pc:sldMasterMk cId="4036943338" sldId="2147483672"/>
            <pc:sldLayoutMk cId="2098175762" sldId="2147483727"/>
          </pc:sldLayoutMkLst>
          <pc:spChg chg="mod ord">
            <ac:chgData name="Linda Lier" userId="c5892826d897d3cd" providerId="LiveId" clId="{7068258B-AE26-41AE-BE70-95AF9FB41401}" dt="2026-01-22T23:15:26.036" v="837"/>
            <ac:spMkLst>
              <pc:docMk/>
              <pc:sldMasterMk cId="4036943338" sldId="2147483672"/>
              <pc:sldLayoutMk cId="2098175762" sldId="2147483727"/>
              <ac:spMk id="2" creationId="{CC42428D-965F-410A-AAB0-2F4E028AF079}"/>
            </ac:spMkLst>
          </pc:spChg>
          <pc:spChg chg="mod ord">
            <ac:chgData name="Linda Lier" userId="c5892826d897d3cd" providerId="LiveId" clId="{7068258B-AE26-41AE-BE70-95AF9FB41401}" dt="2026-01-22T23:15:26.035" v="835"/>
            <ac:spMkLst>
              <pc:docMk/>
              <pc:sldMasterMk cId="4036943338" sldId="2147483672"/>
              <pc:sldLayoutMk cId="2098175762" sldId="2147483727"/>
              <ac:spMk id="6" creationId="{9A451CA0-E30B-1900-50A2-0ECB38532921}"/>
            </ac:spMkLst>
          </pc:spChg>
          <pc:spChg chg="mod">
            <ac:chgData name="Linda Lier" userId="c5892826d897d3cd" providerId="LiveId" clId="{7068258B-AE26-41AE-BE70-95AF9FB41401}" dt="2026-01-22T23:15:32.309" v="854"/>
            <ac:spMkLst>
              <pc:docMk/>
              <pc:sldMasterMk cId="4036943338" sldId="2147483672"/>
              <pc:sldLayoutMk cId="2098175762" sldId="2147483727"/>
              <ac:spMk id="20" creationId="{AA4E4E19-7239-46DA-AE24-CE9556C9BE7D}"/>
            </ac:spMkLst>
          </pc:spChg>
          <pc:graphicFrameChg chg="mod">
            <ac:chgData name="Linda Lier" userId="c5892826d897d3cd" providerId="LiveId" clId="{7068258B-AE26-41AE-BE70-95AF9FB41401}" dt="2026-01-22T23:15:26.039" v="842"/>
            <ac:graphicFrameMkLst>
              <pc:docMk/>
              <pc:sldMasterMk cId="4036943338" sldId="2147483672"/>
              <pc:sldLayoutMk cId="2098175762" sldId="2147483727"/>
              <ac:graphicFrameMk id="7" creationId="{33B562A0-3D6C-45D0-9E85-8A28A804D0F1}"/>
            </ac:graphicFrameMkLst>
          </pc:graphicFrameChg>
          <pc:picChg chg="del">
            <ac:chgData name="Linda Lier" userId="c5892826d897d3cd" providerId="LiveId" clId="{7068258B-AE26-41AE-BE70-95AF9FB41401}" dt="2026-01-22T23:13:18.987" v="820" actId="478"/>
            <ac:picMkLst>
              <pc:docMk/>
              <pc:sldMasterMk cId="4036943338" sldId="2147483672"/>
              <pc:sldLayoutMk cId="2098175762" sldId="2147483727"/>
              <ac:picMk id="3" creationId="{0C043331-36FE-DAD8-42D4-6268D17DCF06}"/>
            </ac:picMkLst>
          </pc:picChg>
          <pc:picChg chg="add mod ord modCrop">
            <ac:chgData name="Linda Lier" userId="c5892826d897d3cd" providerId="LiveId" clId="{7068258B-AE26-41AE-BE70-95AF9FB41401}" dt="2026-01-22T23:15:35.628" v="855" actId="18131"/>
            <ac:picMkLst>
              <pc:docMk/>
              <pc:sldMasterMk cId="4036943338" sldId="2147483672"/>
              <pc:sldLayoutMk cId="2098175762" sldId="2147483727"/>
              <ac:picMk id="5" creationId="{B91ED977-1F7E-9FAA-2243-F9FBB6E1677A}"/>
            </ac:picMkLst>
          </pc:picChg>
          <pc:picChg chg="mod ord">
            <ac:chgData name="Linda Lier" userId="c5892826d897d3cd" providerId="LiveId" clId="{7068258B-AE26-41AE-BE70-95AF9FB41401}" dt="2026-01-22T23:15:26.037" v="840"/>
            <ac:picMkLst>
              <pc:docMk/>
              <pc:sldMasterMk cId="4036943338" sldId="2147483672"/>
              <pc:sldLayoutMk cId="2098175762" sldId="2147483727"/>
              <ac:picMk id="9" creationId="{666BC0DF-7C80-07CB-A76D-9F88EC41890D}"/>
            </ac:picMkLst>
          </pc:picChg>
        </pc:sldLayoutChg>
        <pc:sldLayoutChg chg="addSp delSp modSp add mod modTransition">
          <pc:chgData name="Linda Lier" userId="c5892826d897d3cd" providerId="LiveId" clId="{7068258B-AE26-41AE-BE70-95AF9FB41401}" dt="2026-01-22T23:31:45.139" v="1675" actId="21"/>
          <pc:sldLayoutMkLst>
            <pc:docMk/>
            <pc:sldMasterMk cId="4036943338" sldId="2147483672"/>
            <pc:sldLayoutMk cId="2449738082" sldId="2147483728"/>
          </pc:sldLayoutMkLst>
          <pc:picChg chg="add del mod">
            <ac:chgData name="Linda Lier" userId="c5892826d897d3cd" providerId="LiveId" clId="{7068258B-AE26-41AE-BE70-95AF9FB41401}" dt="2026-01-22T23:31:45.139" v="1675" actId="21"/>
            <ac:picMkLst>
              <pc:docMk/>
              <pc:sldMasterMk cId="4036943338" sldId="2147483672"/>
              <pc:sldLayoutMk cId="2449738082" sldId="2147483728"/>
              <ac:picMk id="6" creationId="{3C82E699-F3E6-C4A1-2006-35D02EBC8CA3}"/>
            </ac:picMkLst>
          </pc:picChg>
        </pc:sldLayoutChg>
        <pc:sldLayoutChg chg="addSp delSp modSp add mod modTransition">
          <pc:chgData name="Linda Lier" userId="c5892826d897d3cd" providerId="LiveId" clId="{7068258B-AE26-41AE-BE70-95AF9FB41401}" dt="2026-01-22T23:38:33.121" v="4016"/>
          <pc:sldLayoutMkLst>
            <pc:docMk/>
            <pc:sldMasterMk cId="4036943338" sldId="2147483672"/>
            <pc:sldLayoutMk cId="2915573889" sldId="2147483728"/>
          </pc:sldLayoutMkLst>
          <pc:spChg chg="mod ord">
            <ac:chgData name="Linda Lier" userId="c5892826d897d3cd" providerId="LiveId" clId="{7068258B-AE26-41AE-BE70-95AF9FB41401}" dt="2026-01-22T23:38:33.112" v="4000"/>
            <ac:spMkLst>
              <pc:docMk/>
              <pc:sldMasterMk cId="4036943338" sldId="2147483672"/>
              <pc:sldLayoutMk cId="2915573889" sldId="2147483728"/>
              <ac:spMk id="4" creationId="{2D668F04-7049-40BA-8D63-D8BBB6921318}"/>
            </ac:spMkLst>
          </pc:spChg>
          <pc:spChg chg="del mod ord">
            <ac:chgData name="Linda Lier" userId="c5892826d897d3cd" providerId="LiveId" clId="{7068258B-AE26-41AE-BE70-95AF9FB41401}" dt="2026-01-22T23:38:10.978" v="3962" actId="478"/>
            <ac:spMkLst>
              <pc:docMk/>
              <pc:sldMasterMk cId="4036943338" sldId="2147483672"/>
              <pc:sldLayoutMk cId="2915573889" sldId="2147483728"/>
              <ac:spMk id="7" creationId="{2365F90A-9CD8-40EE-93CD-2729135A9569}"/>
            </ac:spMkLst>
          </pc:spChg>
          <pc:spChg chg="add mod ord">
            <ac:chgData name="Linda Lier" userId="c5892826d897d3cd" providerId="LiveId" clId="{7068258B-AE26-41AE-BE70-95AF9FB41401}" dt="2026-01-22T23:38:33.114" v="4004"/>
            <ac:spMkLst>
              <pc:docMk/>
              <pc:sldMasterMk cId="4036943338" sldId="2147483672"/>
              <pc:sldLayoutMk cId="2915573889" sldId="2147483728"/>
              <ac:spMk id="8" creationId="{D2183666-D321-913A-48FF-A32BADEC0E16}"/>
            </ac:spMkLst>
          </pc:spChg>
          <pc:spChg chg="mod ord">
            <ac:chgData name="Linda Lier" userId="c5892826d897d3cd" providerId="LiveId" clId="{7068258B-AE26-41AE-BE70-95AF9FB41401}" dt="2026-01-22T23:38:33.118" v="4012"/>
            <ac:spMkLst>
              <pc:docMk/>
              <pc:sldMasterMk cId="4036943338" sldId="2147483672"/>
              <pc:sldLayoutMk cId="2915573889" sldId="2147483728"/>
              <ac:spMk id="9" creationId="{B4905BB0-2756-106B-D0BF-804CD1AF1166}"/>
            </ac:spMkLst>
          </pc:spChg>
          <pc:spChg chg="mod ord">
            <ac:chgData name="Linda Lier" userId="c5892826d897d3cd" providerId="LiveId" clId="{7068258B-AE26-41AE-BE70-95AF9FB41401}" dt="2026-01-22T23:38:33.117" v="4010"/>
            <ac:spMkLst>
              <pc:docMk/>
              <pc:sldMasterMk cId="4036943338" sldId="2147483672"/>
              <pc:sldLayoutMk cId="2915573889" sldId="2147483728"/>
              <ac:spMk id="10" creationId="{7C393009-0681-4A8F-A1E9-19E10A949DCD}"/>
            </ac:spMkLst>
          </pc:spChg>
          <pc:spChg chg="mod ord">
            <ac:chgData name="Linda Lier" userId="c5892826d897d3cd" providerId="LiveId" clId="{7068258B-AE26-41AE-BE70-95AF9FB41401}" dt="2026-01-22T23:38:33.116" v="4006"/>
            <ac:spMkLst>
              <pc:docMk/>
              <pc:sldMasterMk cId="4036943338" sldId="2147483672"/>
              <pc:sldLayoutMk cId="2915573889" sldId="2147483728"/>
              <ac:spMk id="19" creationId="{0415F114-7B0E-43F2-8881-F0D9FB2A643B}"/>
            </ac:spMkLst>
          </pc:spChg>
          <pc:spChg chg="mod ord">
            <ac:chgData name="Linda Lier" userId="c5892826d897d3cd" providerId="LiveId" clId="{7068258B-AE26-41AE-BE70-95AF9FB41401}" dt="2026-01-22T23:38:33.116" v="4008"/>
            <ac:spMkLst>
              <pc:docMk/>
              <pc:sldMasterMk cId="4036943338" sldId="2147483672"/>
              <pc:sldLayoutMk cId="2915573889" sldId="2147483728"/>
              <ac:spMk id="20" creationId="{712BED6B-950C-4FB8-AEE1-14FA61D013FF}"/>
            </ac:spMkLst>
          </pc:spChg>
          <pc:spChg chg="mod ord">
            <ac:chgData name="Linda Lier" userId="c5892826d897d3cd" providerId="LiveId" clId="{7068258B-AE26-41AE-BE70-95AF9FB41401}" dt="2026-01-22T23:38:33.113" v="4002"/>
            <ac:spMkLst>
              <pc:docMk/>
              <pc:sldMasterMk cId="4036943338" sldId="2147483672"/>
              <pc:sldLayoutMk cId="2915573889" sldId="2147483728"/>
              <ac:spMk id="21" creationId="{F25A304F-F50E-4F96-991D-CFEB07060178}"/>
            </ac:spMkLst>
          </pc:spChg>
          <pc:graphicFrameChg chg="mod">
            <ac:chgData name="Linda Lier" userId="c5892826d897d3cd" providerId="LiveId" clId="{7068258B-AE26-41AE-BE70-95AF9FB41401}" dt="2026-01-22T23:38:33.121" v="4016"/>
            <ac:graphicFrameMkLst>
              <pc:docMk/>
              <pc:sldMasterMk cId="4036943338" sldId="2147483672"/>
              <pc:sldLayoutMk cId="2915573889" sldId="2147483728"/>
              <ac:graphicFrameMk id="3" creationId="{C293AC4C-5B2F-4A0C-8C9B-7295BEE1F457}"/>
            </ac:graphicFrameMkLst>
          </pc:graphicFrameChg>
          <pc:picChg chg="mod ord">
            <ac:chgData name="Linda Lier" userId="c5892826d897d3cd" providerId="LiveId" clId="{7068258B-AE26-41AE-BE70-95AF9FB41401}" dt="2026-01-22T23:38:33.120" v="4014"/>
            <ac:picMkLst>
              <pc:docMk/>
              <pc:sldMasterMk cId="4036943338" sldId="2147483672"/>
              <pc:sldLayoutMk cId="2915573889" sldId="2147483728"/>
              <ac:picMk id="2" creationId="{593BEA1E-1746-A027-757C-8242E2110A40}"/>
            </ac:picMkLst>
          </pc:picChg>
          <pc:picChg chg="add mod ord">
            <ac:chgData name="Linda Lier" userId="c5892826d897d3cd" providerId="LiveId" clId="{7068258B-AE26-41AE-BE70-95AF9FB41401}" dt="2026-01-22T23:38:33.109" v="3998"/>
            <ac:picMkLst>
              <pc:docMk/>
              <pc:sldMasterMk cId="4036943338" sldId="2147483672"/>
              <pc:sldLayoutMk cId="2915573889" sldId="2147483728"/>
              <ac:picMk id="5" creationId="{F409B0A7-72B1-EDBA-1B87-83160349F1B6}"/>
            </ac:picMkLst>
          </pc:picChg>
          <pc:picChg chg="add del mod ord modCrop">
            <ac:chgData name="Linda Lier" userId="c5892826d897d3cd" providerId="LiveId" clId="{7068258B-AE26-41AE-BE70-95AF9FB41401}" dt="2026-01-22T23:38:06.304" v="3940" actId="478"/>
            <ac:picMkLst>
              <pc:docMk/>
              <pc:sldMasterMk cId="4036943338" sldId="2147483672"/>
              <pc:sldLayoutMk cId="2915573889" sldId="2147483728"/>
              <ac:picMk id="6" creationId="{3C82E699-F3E6-C4A1-2006-35D02EBC8CA3}"/>
            </ac:picMkLst>
          </pc:picChg>
        </pc:sldLayoutChg>
        <pc:sldLayoutChg chg="addSp modSp add mod modTransition">
          <pc:chgData name="Linda Lier" userId="c5892826d897d3cd" providerId="LiveId" clId="{7068258B-AE26-41AE-BE70-95AF9FB41401}" dt="2026-01-22T23:50:38.281" v="4925" actId="18131"/>
          <pc:sldLayoutMkLst>
            <pc:docMk/>
            <pc:sldMasterMk cId="4036943338" sldId="2147483672"/>
            <pc:sldLayoutMk cId="700644476" sldId="2147483730"/>
          </pc:sldLayoutMkLst>
          <pc:picChg chg="add mod modCrop">
            <ac:chgData name="Linda Lier" userId="c5892826d897d3cd" providerId="LiveId" clId="{7068258B-AE26-41AE-BE70-95AF9FB41401}" dt="2026-01-22T23:50:38.281" v="4925" actId="18131"/>
            <ac:picMkLst>
              <pc:docMk/>
              <pc:sldMasterMk cId="4036943338" sldId="2147483672"/>
              <pc:sldLayoutMk cId="700644476" sldId="2147483730"/>
              <ac:picMk id="8" creationId="{EB232706-C22D-5F0E-20FB-617030C4258B}"/>
            </ac:picMkLst>
          </pc:picChg>
        </pc:sldLayoutChg>
      </pc:sldMasterChg>
      <pc:sldMasterChg chg="modSp del mod modSldLayout">
        <pc:chgData name="Linda Lier" userId="c5892826d897d3cd" providerId="LiveId" clId="{7068258B-AE26-41AE-BE70-95AF9FB41401}" dt="2026-01-22T23:44:22.056" v="4919" actId="2696"/>
        <pc:sldMasterMkLst>
          <pc:docMk/>
          <pc:sldMasterMk cId="908385207" sldId="2147483701"/>
        </pc:sldMasterMkLst>
        <pc:spChg chg="mod">
          <ac:chgData name="Linda Lier" userId="c5892826d897d3cd" providerId="LiveId" clId="{7068258B-AE26-41AE-BE70-95AF9FB41401}" dt="2026-01-22T22:55:46.127" v="361" actId="299"/>
          <ac:spMkLst>
            <pc:docMk/>
            <pc:sldMasterMk cId="908385207" sldId="2147483701"/>
            <ac:spMk id="57" creationId="{98FF70AE-7EF6-4E5B-9FFE-B44C852C9FBA}"/>
          </ac:spMkLst>
        </pc:spChg>
        <pc:sldLayoutChg chg="modSp">
          <pc:chgData name="Linda Lier" userId="c5892826d897d3cd" providerId="LiveId" clId="{7068258B-AE26-41AE-BE70-95AF9FB41401}" dt="2026-01-22T22:55:18.276" v="146"/>
          <pc:sldLayoutMkLst>
            <pc:docMk/>
            <pc:sldMasterMk cId="908385207" sldId="2147483701"/>
            <pc:sldLayoutMk cId="1555308718" sldId="2147483702"/>
          </pc:sldLayoutMkLst>
          <pc:spChg chg="mod">
            <ac:chgData name="Linda Lier" userId="c5892826d897d3cd" providerId="LiveId" clId="{7068258B-AE26-41AE-BE70-95AF9FB41401}" dt="2026-01-22T22:55:18.276" v="146"/>
            <ac:spMkLst>
              <pc:docMk/>
              <pc:sldMasterMk cId="908385207" sldId="2147483701"/>
              <pc:sldLayoutMk cId="1555308718" sldId="2147483702"/>
              <ac:spMk id="20" creationId="{AA4E4E19-7239-46DA-AE24-CE9556C9BE7D}"/>
            </ac:spMkLst>
          </pc:spChg>
        </pc:sldLayoutChg>
        <pc:sldLayoutChg chg="modSp mod">
          <pc:chgData name="Linda Lier" userId="c5892826d897d3cd" providerId="LiveId" clId="{7068258B-AE26-41AE-BE70-95AF9FB41401}" dt="2026-01-22T22:55:46.164" v="364" actId="299"/>
          <pc:sldLayoutMkLst>
            <pc:docMk/>
            <pc:sldMasterMk cId="908385207" sldId="2147483701"/>
            <pc:sldLayoutMk cId="771033517" sldId="2147483704"/>
          </pc:sldLayoutMkLst>
          <pc:spChg chg="mod">
            <ac:chgData name="Linda Lier" userId="c5892826d897d3cd" providerId="LiveId" clId="{7068258B-AE26-41AE-BE70-95AF9FB41401}" dt="2026-01-22T22:55:46.164" v="364" actId="299"/>
            <ac:spMkLst>
              <pc:docMk/>
              <pc:sldMasterMk cId="908385207" sldId="2147483701"/>
              <pc:sldLayoutMk cId="771033517" sldId="2147483704"/>
              <ac:spMk id="10" creationId="{8326FFD0-8389-4032-AAB8-00C262CAF746}"/>
            </ac:spMkLst>
          </pc:spChg>
        </pc:sldLayoutChg>
        <pc:sldLayoutChg chg="modSp mod">
          <pc:chgData name="Linda Lier" userId="c5892826d897d3cd" providerId="LiveId" clId="{7068258B-AE26-41AE-BE70-95AF9FB41401}" dt="2026-01-22T22:55:46.183" v="367" actId="299"/>
          <pc:sldLayoutMkLst>
            <pc:docMk/>
            <pc:sldMasterMk cId="908385207" sldId="2147483701"/>
            <pc:sldLayoutMk cId="4167516997" sldId="2147483705"/>
          </pc:sldLayoutMkLst>
          <pc:spChg chg="mod">
            <ac:chgData name="Linda Lier" userId="c5892826d897d3cd" providerId="LiveId" clId="{7068258B-AE26-41AE-BE70-95AF9FB41401}" dt="2026-01-22T22:55:46.183" v="367" actId="299"/>
            <ac:spMkLst>
              <pc:docMk/>
              <pc:sldMasterMk cId="908385207" sldId="2147483701"/>
              <pc:sldLayoutMk cId="4167516997" sldId="2147483705"/>
              <ac:spMk id="3" creationId="{064E079D-5BD2-4787-A7F2-0859A1CB5E94}"/>
            </ac:spMkLst>
          </pc:spChg>
        </pc:sldLayoutChg>
        <pc:sldLayoutChg chg="modSp mod">
          <pc:chgData name="Linda Lier" userId="c5892826d897d3cd" providerId="LiveId" clId="{7068258B-AE26-41AE-BE70-95AF9FB41401}" dt="2026-01-22T22:55:46.191" v="370" actId="299"/>
          <pc:sldLayoutMkLst>
            <pc:docMk/>
            <pc:sldMasterMk cId="908385207" sldId="2147483701"/>
            <pc:sldLayoutMk cId="1397033170" sldId="2147483706"/>
          </pc:sldLayoutMkLst>
          <pc:spChg chg="mod">
            <ac:chgData name="Linda Lier" userId="c5892826d897d3cd" providerId="LiveId" clId="{7068258B-AE26-41AE-BE70-95AF9FB41401}" dt="2026-01-22T22:55:46.191" v="370" actId="299"/>
            <ac:spMkLst>
              <pc:docMk/>
              <pc:sldMasterMk cId="908385207" sldId="2147483701"/>
              <pc:sldLayoutMk cId="1397033170" sldId="2147483706"/>
              <ac:spMk id="3" creationId="{064E079D-5BD2-4787-A7F2-0859A1CB5E94}"/>
            </ac:spMkLst>
          </pc:spChg>
        </pc:sldLayoutChg>
        <pc:sldLayoutChg chg="modSp mod">
          <pc:chgData name="Linda Lier" userId="c5892826d897d3cd" providerId="LiveId" clId="{7068258B-AE26-41AE-BE70-95AF9FB41401}" dt="2026-01-22T22:55:46.242" v="382" actId="299"/>
          <pc:sldLayoutMkLst>
            <pc:docMk/>
            <pc:sldMasterMk cId="908385207" sldId="2147483701"/>
            <pc:sldLayoutMk cId="2630958002" sldId="2147483707"/>
          </pc:sldLayoutMkLst>
          <pc:spChg chg="mod">
            <ac:chgData name="Linda Lier" userId="c5892826d897d3cd" providerId="LiveId" clId="{7068258B-AE26-41AE-BE70-95AF9FB41401}" dt="2026-01-22T22:55:46.242" v="382" actId="299"/>
            <ac:spMkLst>
              <pc:docMk/>
              <pc:sldMasterMk cId="908385207" sldId="2147483701"/>
              <pc:sldLayoutMk cId="2630958002" sldId="2147483707"/>
              <ac:spMk id="7" creationId="{99495DFD-8D6A-4DD8-AE3A-47FA42AA0A4F}"/>
            </ac:spMkLst>
          </pc:spChg>
        </pc:sldLayoutChg>
        <pc:sldLayoutChg chg="modSp mod">
          <pc:chgData name="Linda Lier" userId="c5892826d897d3cd" providerId="LiveId" clId="{7068258B-AE26-41AE-BE70-95AF9FB41401}" dt="2026-01-22T22:55:46.217" v="376" actId="299"/>
          <pc:sldLayoutMkLst>
            <pc:docMk/>
            <pc:sldMasterMk cId="908385207" sldId="2147483701"/>
            <pc:sldLayoutMk cId="2127190442" sldId="2147483708"/>
          </pc:sldLayoutMkLst>
          <pc:spChg chg="mod">
            <ac:chgData name="Linda Lier" userId="c5892826d897d3cd" providerId="LiveId" clId="{7068258B-AE26-41AE-BE70-95AF9FB41401}" dt="2026-01-22T22:55:46.217" v="376" actId="299"/>
            <ac:spMkLst>
              <pc:docMk/>
              <pc:sldMasterMk cId="908385207" sldId="2147483701"/>
              <pc:sldLayoutMk cId="2127190442" sldId="2147483708"/>
              <ac:spMk id="19" creationId="{6647A441-8DE4-4236-BCC7-B694B2C59E00}"/>
            </ac:spMkLst>
          </pc:spChg>
        </pc:sldLayoutChg>
        <pc:sldLayoutChg chg="modSp mod">
          <pc:chgData name="Linda Lier" userId="c5892826d897d3cd" providerId="LiveId" clId="{7068258B-AE26-41AE-BE70-95AF9FB41401}" dt="2026-01-22T22:55:46.231" v="379" actId="299"/>
          <pc:sldLayoutMkLst>
            <pc:docMk/>
            <pc:sldMasterMk cId="908385207" sldId="2147483701"/>
            <pc:sldLayoutMk cId="1371093866" sldId="2147483709"/>
          </pc:sldLayoutMkLst>
          <pc:spChg chg="mod">
            <ac:chgData name="Linda Lier" userId="c5892826d897d3cd" providerId="LiveId" clId="{7068258B-AE26-41AE-BE70-95AF9FB41401}" dt="2026-01-22T22:55:46.231" v="379" actId="299"/>
            <ac:spMkLst>
              <pc:docMk/>
              <pc:sldMasterMk cId="908385207" sldId="2147483701"/>
              <pc:sldLayoutMk cId="1371093866" sldId="2147483709"/>
              <ac:spMk id="19" creationId="{4EF89F43-35C6-451B-BBE8-87D2B8B83F5E}"/>
            </ac:spMkLst>
          </pc:spChg>
        </pc:sldLayoutChg>
        <pc:sldLayoutChg chg="modSp mod">
          <pc:chgData name="Linda Lier" userId="c5892826d897d3cd" providerId="LiveId" clId="{7068258B-AE26-41AE-BE70-95AF9FB41401}" dt="2026-01-22T22:55:46.202" v="373" actId="299"/>
          <pc:sldLayoutMkLst>
            <pc:docMk/>
            <pc:sldMasterMk cId="908385207" sldId="2147483701"/>
            <pc:sldLayoutMk cId="2226564892" sldId="2147483710"/>
          </pc:sldLayoutMkLst>
          <pc:spChg chg="mod">
            <ac:chgData name="Linda Lier" userId="c5892826d897d3cd" providerId="LiveId" clId="{7068258B-AE26-41AE-BE70-95AF9FB41401}" dt="2026-01-22T22:55:46.202" v="373" actId="299"/>
            <ac:spMkLst>
              <pc:docMk/>
              <pc:sldMasterMk cId="908385207" sldId="2147483701"/>
              <pc:sldLayoutMk cId="2226564892" sldId="2147483710"/>
              <ac:spMk id="19" creationId="{8FFC5EFA-01A0-4033-8D7E-3C2B1F490A33}"/>
            </ac:spMkLst>
          </pc:spChg>
        </pc:sldLayoutChg>
        <pc:sldLayoutChg chg="modSp mod">
          <pc:chgData name="Linda Lier" userId="c5892826d897d3cd" providerId="LiveId" clId="{7068258B-AE26-41AE-BE70-95AF9FB41401}" dt="2026-01-22T22:55:46.253" v="385" actId="299"/>
          <pc:sldLayoutMkLst>
            <pc:docMk/>
            <pc:sldMasterMk cId="908385207" sldId="2147483701"/>
            <pc:sldLayoutMk cId="2242817062" sldId="2147483711"/>
          </pc:sldLayoutMkLst>
          <pc:spChg chg="mod">
            <ac:chgData name="Linda Lier" userId="c5892826d897d3cd" providerId="LiveId" clId="{7068258B-AE26-41AE-BE70-95AF9FB41401}" dt="2026-01-22T22:55:46.253" v="385" actId="299"/>
            <ac:spMkLst>
              <pc:docMk/>
              <pc:sldMasterMk cId="908385207" sldId="2147483701"/>
              <pc:sldLayoutMk cId="2242817062" sldId="2147483711"/>
              <ac:spMk id="19" creationId="{0415F114-7B0E-43F2-8881-F0D9FB2A643B}"/>
            </ac:spMkLst>
          </pc:spChg>
        </pc:sldLayoutChg>
        <pc:sldLayoutChg chg="modSp mod">
          <pc:chgData name="Linda Lier" userId="c5892826d897d3cd" providerId="LiveId" clId="{7068258B-AE26-41AE-BE70-95AF9FB41401}" dt="2026-01-22T22:55:46.319" v="400" actId="299"/>
          <pc:sldLayoutMkLst>
            <pc:docMk/>
            <pc:sldMasterMk cId="908385207" sldId="2147483701"/>
            <pc:sldLayoutMk cId="516660108" sldId="2147483712"/>
          </pc:sldLayoutMkLst>
          <pc:spChg chg="mod">
            <ac:chgData name="Linda Lier" userId="c5892826d897d3cd" providerId="LiveId" clId="{7068258B-AE26-41AE-BE70-95AF9FB41401}" dt="2026-01-22T22:55:46.319" v="400" actId="299"/>
            <ac:spMkLst>
              <pc:docMk/>
              <pc:sldMasterMk cId="908385207" sldId="2147483701"/>
              <pc:sldLayoutMk cId="516660108" sldId="2147483712"/>
              <ac:spMk id="19" creationId="{8FFC5EFA-01A0-4033-8D7E-3C2B1F490A33}"/>
            </ac:spMkLst>
          </pc:spChg>
        </pc:sldLayoutChg>
        <pc:sldLayoutChg chg="modSp mod">
          <pc:chgData name="Linda Lier" userId="c5892826d897d3cd" providerId="LiveId" clId="{7068258B-AE26-41AE-BE70-95AF9FB41401}" dt="2026-01-22T22:55:46.292" v="394" actId="299"/>
          <pc:sldLayoutMkLst>
            <pc:docMk/>
            <pc:sldMasterMk cId="908385207" sldId="2147483701"/>
            <pc:sldLayoutMk cId="343607548" sldId="2147483713"/>
          </pc:sldLayoutMkLst>
          <pc:spChg chg="mod">
            <ac:chgData name="Linda Lier" userId="c5892826d897d3cd" providerId="LiveId" clId="{7068258B-AE26-41AE-BE70-95AF9FB41401}" dt="2026-01-22T22:55:46.292" v="394" actId="299"/>
            <ac:spMkLst>
              <pc:docMk/>
              <pc:sldMasterMk cId="908385207" sldId="2147483701"/>
              <pc:sldLayoutMk cId="343607548" sldId="2147483713"/>
              <ac:spMk id="19" creationId="{6647A441-8DE4-4236-BCC7-B694B2C59E00}"/>
            </ac:spMkLst>
          </pc:spChg>
        </pc:sldLayoutChg>
        <pc:sldLayoutChg chg="modSp mod">
          <pc:chgData name="Linda Lier" userId="c5892826d897d3cd" providerId="LiveId" clId="{7068258B-AE26-41AE-BE70-95AF9FB41401}" dt="2026-01-22T22:55:46.279" v="391" actId="299"/>
          <pc:sldLayoutMkLst>
            <pc:docMk/>
            <pc:sldMasterMk cId="908385207" sldId="2147483701"/>
            <pc:sldLayoutMk cId="3568766482" sldId="2147483714"/>
          </pc:sldLayoutMkLst>
          <pc:spChg chg="mod">
            <ac:chgData name="Linda Lier" userId="c5892826d897d3cd" providerId="LiveId" clId="{7068258B-AE26-41AE-BE70-95AF9FB41401}" dt="2026-01-22T22:55:46.279" v="391" actId="299"/>
            <ac:spMkLst>
              <pc:docMk/>
              <pc:sldMasterMk cId="908385207" sldId="2147483701"/>
              <pc:sldLayoutMk cId="3568766482" sldId="2147483714"/>
              <ac:spMk id="19" creationId="{4EF89F43-35C6-451B-BBE8-87D2B8B83F5E}"/>
            </ac:spMkLst>
          </pc:spChg>
        </pc:sldLayoutChg>
        <pc:sldLayoutChg chg="modSp mod">
          <pc:chgData name="Linda Lier" userId="c5892826d897d3cd" providerId="LiveId" clId="{7068258B-AE26-41AE-BE70-95AF9FB41401}" dt="2026-01-22T22:55:46.306" v="397" actId="299"/>
          <pc:sldLayoutMkLst>
            <pc:docMk/>
            <pc:sldMasterMk cId="908385207" sldId="2147483701"/>
            <pc:sldLayoutMk cId="1897881918" sldId="2147483715"/>
          </pc:sldLayoutMkLst>
          <pc:spChg chg="mod">
            <ac:chgData name="Linda Lier" userId="c5892826d897d3cd" providerId="LiveId" clId="{7068258B-AE26-41AE-BE70-95AF9FB41401}" dt="2026-01-22T22:55:46.306" v="397" actId="299"/>
            <ac:spMkLst>
              <pc:docMk/>
              <pc:sldMasterMk cId="908385207" sldId="2147483701"/>
              <pc:sldLayoutMk cId="1897881918" sldId="2147483715"/>
              <ac:spMk id="19" creationId="{8FFC5EFA-01A0-4033-8D7E-3C2B1F490A33}"/>
            </ac:spMkLst>
          </pc:spChg>
        </pc:sldLayoutChg>
        <pc:sldLayoutChg chg="modSp mod">
          <pc:chgData name="Linda Lier" userId="c5892826d897d3cd" providerId="LiveId" clId="{7068258B-AE26-41AE-BE70-95AF9FB41401}" dt="2026-01-22T22:55:46.267" v="388" actId="299"/>
          <pc:sldLayoutMkLst>
            <pc:docMk/>
            <pc:sldMasterMk cId="908385207" sldId="2147483701"/>
            <pc:sldLayoutMk cId="1108459154" sldId="2147483716"/>
          </pc:sldLayoutMkLst>
          <pc:spChg chg="mod">
            <ac:chgData name="Linda Lier" userId="c5892826d897d3cd" providerId="LiveId" clId="{7068258B-AE26-41AE-BE70-95AF9FB41401}" dt="2026-01-22T22:55:46.267" v="388" actId="299"/>
            <ac:spMkLst>
              <pc:docMk/>
              <pc:sldMasterMk cId="908385207" sldId="2147483701"/>
              <pc:sldLayoutMk cId="1108459154" sldId="2147483716"/>
              <ac:spMk id="19" creationId="{0415F114-7B0E-43F2-8881-F0D9FB2A643B}"/>
            </ac:spMkLst>
          </pc:spChg>
        </pc:sldLayoutChg>
        <pc:sldLayoutChg chg="modSp mod">
          <pc:chgData name="Linda Lier" userId="c5892826d897d3cd" providerId="LiveId" clId="{7068258B-AE26-41AE-BE70-95AF9FB41401}" dt="2026-01-22T22:55:46.344" v="406" actId="299"/>
          <pc:sldLayoutMkLst>
            <pc:docMk/>
            <pc:sldMasterMk cId="908385207" sldId="2147483701"/>
            <pc:sldLayoutMk cId="3470743606" sldId="2147483717"/>
          </pc:sldLayoutMkLst>
          <pc:spChg chg="mod">
            <ac:chgData name="Linda Lier" userId="c5892826d897d3cd" providerId="LiveId" clId="{7068258B-AE26-41AE-BE70-95AF9FB41401}" dt="2026-01-22T22:55:46.344" v="406" actId="299"/>
            <ac:spMkLst>
              <pc:docMk/>
              <pc:sldMasterMk cId="908385207" sldId="2147483701"/>
              <pc:sldLayoutMk cId="3470743606" sldId="2147483717"/>
              <ac:spMk id="19" creationId="{8FFC5EFA-01A0-4033-8D7E-3C2B1F490A33}"/>
            </ac:spMkLst>
          </pc:spChg>
        </pc:sldLayoutChg>
        <pc:sldLayoutChg chg="modSp mod">
          <pc:chgData name="Linda Lier" userId="c5892826d897d3cd" providerId="LiveId" clId="{7068258B-AE26-41AE-BE70-95AF9FB41401}" dt="2026-01-22T22:55:46.333" v="403" actId="299"/>
          <pc:sldLayoutMkLst>
            <pc:docMk/>
            <pc:sldMasterMk cId="908385207" sldId="2147483701"/>
            <pc:sldLayoutMk cId="2291622004" sldId="2147483718"/>
          </pc:sldLayoutMkLst>
          <pc:spChg chg="mod">
            <ac:chgData name="Linda Lier" userId="c5892826d897d3cd" providerId="LiveId" clId="{7068258B-AE26-41AE-BE70-95AF9FB41401}" dt="2026-01-22T22:55:46.333" v="403" actId="299"/>
            <ac:spMkLst>
              <pc:docMk/>
              <pc:sldMasterMk cId="908385207" sldId="2147483701"/>
              <pc:sldLayoutMk cId="2291622004" sldId="2147483718"/>
              <ac:spMk id="4" creationId="{6C3D89FC-A4B9-4683-B64F-B0644150274F}"/>
            </ac:spMkLst>
          </pc:spChg>
        </pc:sldLayoutChg>
        <pc:sldLayoutChg chg="modSp mod">
          <pc:chgData name="Linda Lier" userId="c5892826d897d3cd" providerId="LiveId" clId="{7068258B-AE26-41AE-BE70-95AF9FB41401}" dt="2026-01-22T22:55:45.806" v="298" actId="299"/>
          <pc:sldLayoutMkLst>
            <pc:docMk/>
            <pc:sldMasterMk cId="908385207" sldId="2147483701"/>
            <pc:sldLayoutMk cId="2301451993" sldId="2147483723"/>
          </pc:sldLayoutMkLst>
          <pc:spChg chg="mod">
            <ac:chgData name="Linda Lier" userId="c5892826d897d3cd" providerId="LiveId" clId="{7068258B-AE26-41AE-BE70-95AF9FB41401}" dt="2026-01-22T22:55:45.806" v="298" actId="299"/>
            <ac:spMkLst>
              <pc:docMk/>
              <pc:sldMasterMk cId="908385207" sldId="2147483701"/>
              <pc:sldLayoutMk cId="2301451993" sldId="2147483723"/>
              <ac:spMk id="2" creationId="{38AF6CE5-E047-55F4-98D4-D3ADADE87128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915576694411414E-2"/>
          <c:y val="0.24307304785894207"/>
          <c:w val="0.93816884661117717"/>
          <c:h val="0.5138539042821158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BF2-47D8-BC88-5D6CD1F3BF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F2-47D8-BC88-5D6CD1F3BFCB}"/>
            </c:ext>
          </c:extLst>
        </c:ser>
        <c:ser>
          <c:idx val="1"/>
          <c:order val="1"/>
          <c:spPr>
            <a:solidFill>
              <a:schemeClr val="accent2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BF2-47D8-BC88-5D6CD1F3BF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BF2-47D8-BC88-5D6CD1F3BFCB}"/>
            </c:ext>
          </c:extLst>
        </c:ser>
        <c:ser>
          <c:idx val="2"/>
          <c:order val="2"/>
          <c:spPr>
            <a:solidFill>
              <a:schemeClr val="accent3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BF2-47D8-BC88-5D6CD1F3BF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BF2-47D8-BC88-5D6CD1F3BFCB}"/>
            </c:ext>
          </c:extLst>
        </c:ser>
        <c:ser>
          <c:idx val="3"/>
          <c:order val="3"/>
          <c:spPr>
            <a:solidFill>
              <a:schemeClr val="accent4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5.9453032104637331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BF2-47D8-BC88-5D6CD1F3BF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BF2-47D8-BC88-5D6CD1F3BFCB}"/>
            </c:ext>
          </c:extLst>
        </c:ser>
        <c:ser>
          <c:idx val="4"/>
          <c:order val="4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BF2-47D8-BC88-5D6CD1F3BF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BF2-47D8-BC88-5D6CD1F3BF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992098080"/>
        <c:axId val="1"/>
      </c:barChart>
      <c:catAx>
        <c:axId val="9920980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992098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183282980866064E-2"/>
          <c:y val="8.1228956228956234E-2"/>
          <c:w val="0.94763343403826783"/>
          <c:h val="0.8375420875420875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5.0352467270896274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ACC-49AB-B928-0BF41DD15C4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ACC-49AB-B928-0BF41DD15C4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ACC-49AB-B928-0BF41DD15C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2.9</c:v>
                </c:pt>
                <c:pt idx="1">
                  <c:v>21.8</c:v>
                </c:pt>
                <c:pt idx="2">
                  <c:v>3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ACC-49AB-B928-0BF41DD15C4B}"/>
            </c:ext>
          </c:extLst>
        </c:ser>
        <c:ser>
          <c:idx val="1"/>
          <c:order val="1"/>
          <c:spPr>
            <a:solidFill>
              <a:schemeClr val="accent2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5.0352467270896274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ACC-49AB-B928-0BF41DD15C4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ACC-49AB-B928-0BF41DD15C4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ACC-49AB-B928-0BF41DD15C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3.8999999999999986</c:v>
                </c:pt>
                <c:pt idx="2">
                  <c:v>7.2000000000000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ACC-49AB-B928-0BF41DD15C4B}"/>
            </c:ext>
          </c:extLst>
        </c:ser>
        <c:ser>
          <c:idx val="2"/>
          <c:order val="2"/>
          <c:spPr>
            <a:solidFill>
              <a:schemeClr val="accent3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ACC-49AB-B928-0BF41DD15C4B}"/>
                </c:ext>
              </c:extLst>
            </c:dLbl>
            <c:dLbl>
              <c:idx val="1"/>
              <c:layout>
                <c:manualLayout>
                  <c:x val="-5.0352467270896274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ACC-49AB-B928-0BF41DD15C4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ACC-49AB-B928-0BF41DD15C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3.5</c:v>
                </c:pt>
                <c:pt idx="1">
                  <c:v>5.3000000000000007</c:v>
                </c:pt>
                <c:pt idx="2">
                  <c:v>4.10000000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ACC-49AB-B928-0BF41DD15C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51716128"/>
        <c:axId val="1"/>
      </c:barChart>
      <c:catAx>
        <c:axId val="125171612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.400000000000006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2517161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467038068709377"/>
          <c:y val="0.1159488878371983"/>
          <c:w val="0.77112349117920154"/>
          <c:h val="0.76810222432560338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5DF7-4FAD-BB60-21E914A7372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5DF7-4FAD-BB60-21E914A7372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5DF7-4FAD-BB60-21E914A73726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5DF7-4FAD-BB60-21E914A73726}"/>
              </c:ext>
            </c:extLst>
          </c:dPt>
          <c:dLbls>
            <c:dLbl>
              <c:idx val="0"/>
              <c:layout>
                <c:manualLayout>
                  <c:x val="0.10120705663881151"/>
                  <c:y val="2.4136299100804542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DF7-4FAD-BB60-21E914A73726}"/>
                </c:ext>
              </c:extLst>
            </c:dLbl>
            <c:dLbl>
              <c:idx val="1"/>
              <c:layout>
                <c:manualLayout>
                  <c:x val="-9.7028783658310122E-2"/>
                  <c:y val="3.738760056791291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DF7-4FAD-BB60-21E914A73726}"/>
                </c:ext>
              </c:extLst>
            </c:dLbl>
            <c:dLbl>
              <c:idx val="2"/>
              <c:layout>
                <c:manualLayout>
                  <c:x val="-8.1708449396471677E-2"/>
                  <c:y val="-6.909607193563653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DF7-4FAD-BB60-21E914A73726}"/>
                </c:ext>
              </c:extLst>
            </c:dLbl>
            <c:dLbl>
              <c:idx val="3"/>
              <c:layout>
                <c:manualLayout>
                  <c:x val="-3.7604456824512536E-2"/>
                  <c:y val="-0.1310932323710364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DF7-4FAD-BB60-21E914A7372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57.4</c:v>
                </c:pt>
                <c:pt idx="1">
                  <c:v>23.599999999999998</c:v>
                </c:pt>
                <c:pt idx="2">
                  <c:v>10</c:v>
                </c:pt>
                <c:pt idx="3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DF7-4FAD-BB60-21E914A737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962962962962962"/>
          <c:y val="5.2437902483900643E-2"/>
          <c:w val="0.77519379844961245"/>
          <c:h val="0.81922723091076355"/>
        </c:manualLayout>
      </c:layout>
      <c:scatterChart>
        <c:scatterStyle val="lineMarker"/>
        <c:varyColors val="0"/>
        <c:ser>
          <c:idx val="0"/>
          <c:order val="0"/>
          <c:spPr>
            <a:ln w="25400" cmpd="sng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D$1</c:f>
              <c:numCache>
                <c:formatCode>General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xVal>
          <c:yVal>
            <c:numRef>
              <c:f>Sheet1!$A$2:$D$2</c:f>
              <c:numCache>
                <c:formatCode>General</c:formatCode>
                <c:ptCount val="4"/>
                <c:pt idx="0">
                  <c:v>4.0999999999999996</c:v>
                </c:pt>
                <c:pt idx="1">
                  <c:v>5.3</c:v>
                </c:pt>
                <c:pt idx="2">
                  <c:v>3.2</c:v>
                </c:pt>
                <c:pt idx="3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630-47BA-94F9-7E4BC781FE69}"/>
            </c:ext>
          </c:extLst>
        </c:ser>
        <c:ser>
          <c:idx val="1"/>
          <c:order val="1"/>
          <c:spPr>
            <a:ln w="2540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D$1</c:f>
              <c:numCache>
                <c:formatCode>General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xVal>
          <c:yVal>
            <c:numRef>
              <c:f>Sheet1!$A$3:$D$3</c:f>
              <c:numCache>
                <c:formatCode>General</c:formatCode>
                <c:ptCount val="4"/>
                <c:pt idx="0">
                  <c:v>5.0999999999999996</c:v>
                </c:pt>
                <c:pt idx="1">
                  <c:v>2.4</c:v>
                </c:pt>
                <c:pt idx="2">
                  <c:v>2</c:v>
                </c:pt>
                <c:pt idx="3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630-47BA-94F9-7E4BC781FE69}"/>
            </c:ext>
          </c:extLst>
        </c:ser>
        <c:ser>
          <c:idx val="2"/>
          <c:order val="2"/>
          <c:spPr>
            <a:ln w="2540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D$1</c:f>
              <c:numCache>
                <c:formatCode>General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xVal>
          <c:yVal>
            <c:numRef>
              <c:f>Sheet1!$A$4:$D$4</c:f>
              <c:numCache>
                <c:formatCode>General</c:formatCode>
                <c:ptCount val="4"/>
                <c:pt idx="0">
                  <c:v>5</c:v>
                </c:pt>
                <c:pt idx="1">
                  <c:v>4</c:v>
                </c:pt>
                <c:pt idx="2">
                  <c:v>2</c:v>
                </c:pt>
                <c:pt idx="3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630-47BA-94F9-7E4BC781FE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6"/>
          <c:min val="2023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bg2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5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accent3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A1E673A-7889-F5F9-0978-A5083ADF0C0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F1A535-934D-1D13-0972-7480059489B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347F3A-7EC0-4270-B979-6ED40D328FB0}" type="datetimeFigureOut">
              <a:rPr lang="en-US" smtClean="0"/>
              <a:t>Label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61BDFD-BC5F-462C-1E43-E2D44C76F8E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48733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5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.bin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9.sv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8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1.bin"/><Relationship Id="rId5" Type="http://schemas.openxmlformats.org/officeDocument/2006/relationships/tags" Target="../tags/tag77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6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9.svg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8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image" Target="../media/image1.bin"/><Relationship Id="rId5" Type="http://schemas.openxmlformats.org/officeDocument/2006/relationships/tags" Target="../tags/tag85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4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9.svg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8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image" Target="../media/image10.bin"/><Relationship Id="rId5" Type="http://schemas.openxmlformats.org/officeDocument/2006/relationships/tags" Target="../tags/tag93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2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9.svg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8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image" Target="../media/image1.bin"/><Relationship Id="rId5" Type="http://schemas.openxmlformats.org/officeDocument/2006/relationships/tags" Target="../tags/tag101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00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image" Target="../media/image9.svg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image" Target="../media/image8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image" Target="../media/image1.bin"/><Relationship Id="rId5" Type="http://schemas.openxmlformats.org/officeDocument/2006/relationships/tags" Target="../tags/tag109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08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image" Target="../media/image12.svg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image" Target="../media/image2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image" Target="../media/image1.bin"/><Relationship Id="rId5" Type="http://schemas.openxmlformats.org/officeDocument/2006/relationships/tags" Target="../tags/tag117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16.xml"/><Relationship Id="rId9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image" Target="../media/image12.svg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image" Target="../media/image2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image" Target="../media/image1.bin"/><Relationship Id="rId5" Type="http://schemas.openxmlformats.org/officeDocument/2006/relationships/tags" Target="../tags/tag125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24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image" Target="../media/image12.svg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image" Target="../media/image2.png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image" Target="../media/image1.bin"/><Relationship Id="rId5" Type="http://schemas.openxmlformats.org/officeDocument/2006/relationships/tags" Target="../tags/tag133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32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12.svg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image" Target="../media/image2.png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10.bin"/><Relationship Id="rId5" Type="http://schemas.openxmlformats.org/officeDocument/2006/relationships/tags" Target="../tags/tag141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12.svg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image" Target="../media/image2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1" Type="http://schemas.openxmlformats.org/officeDocument/2006/relationships/image" Target="../media/image5.png"/><Relationship Id="rId5" Type="http://schemas.openxmlformats.org/officeDocument/2006/relationships/tags" Target="../tags/tag149.xml"/><Relationship Id="rId10" Type="http://schemas.openxmlformats.org/officeDocument/2006/relationships/image" Target="../media/image10.bin"/><Relationship Id="rId4" Type="http://schemas.openxmlformats.org/officeDocument/2006/relationships/tags" Target="../tags/tag148.xml"/><Relationship Id="rId9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7.xml"/><Relationship Id="rId7" Type="http://schemas.openxmlformats.org/officeDocument/2006/relationships/image" Target="../media/image7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4.bin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image" Target="../media/image12.svg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image" Target="../media/image2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11" Type="http://schemas.openxmlformats.org/officeDocument/2006/relationships/image" Target="../media/image1.bin"/><Relationship Id="rId5" Type="http://schemas.openxmlformats.org/officeDocument/2006/relationships/tags" Target="../tags/tag156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55.xml"/><Relationship Id="rId9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image" Target="../media/image12.svg"/><Relationship Id="rId5" Type="http://schemas.openxmlformats.org/officeDocument/2006/relationships/tags" Target="../tags/tag164.xml"/><Relationship Id="rId10" Type="http://schemas.openxmlformats.org/officeDocument/2006/relationships/image" Target="../media/image2.png"/><Relationship Id="rId4" Type="http://schemas.openxmlformats.org/officeDocument/2006/relationships/tags" Target="../tags/tag163.xml"/><Relationship Id="rId9" Type="http://schemas.openxmlformats.org/officeDocument/2006/relationships/image" Target="../media/image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image" Target="../media/image6.png"/><Relationship Id="rId5" Type="http://schemas.openxmlformats.org/officeDocument/2006/relationships/image" Target="../media/image4.bin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4.bin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1.xml"/><Relationship Id="rId4" Type="http://schemas.openxmlformats.org/officeDocument/2006/relationships/image" Target="../media/image1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image" Target="../media/image4.bin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bin"/><Relationship Id="rId3" Type="http://schemas.openxmlformats.org/officeDocument/2006/relationships/tags" Target="../tags/tag30.xml"/><Relationship Id="rId7" Type="http://schemas.openxmlformats.org/officeDocument/2006/relationships/oleObject" Target="../embeddings/oleObject4.bin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image" Target="../media/image1.bin"/><Relationship Id="rId4" Type="http://schemas.openxmlformats.org/officeDocument/2006/relationships/tags" Target="../tags/tag36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1.bin"/><Relationship Id="rId4" Type="http://schemas.openxmlformats.org/officeDocument/2006/relationships/tags" Target="../tags/tag43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4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image" Target="../media/image4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4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6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9" Type="http://schemas.openxmlformats.org/officeDocument/2006/relationships/image" Target="../media/image4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9.sv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8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image" Target="../media/image1.bin"/><Relationship Id="rId5" Type="http://schemas.openxmlformats.org/officeDocument/2006/relationships/tags" Target="../tags/tag69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rgbClr val="2913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0017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C043331-36FE-DAD8-42D4-6268D17DCF0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26" r="7614"/>
          <a:stretch>
            <a:fillRect/>
          </a:stretch>
        </p:blipFill>
        <p:spPr>
          <a:xfrm rot="16200000">
            <a:off x="2667000" y="-2667000"/>
            <a:ext cx="6858000" cy="12192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451CA0-E30B-1900-50A2-0ECB38532921}"/>
              </a:ext>
            </a:extLst>
          </p:cNvPr>
          <p:cNvSpPr/>
          <p:nvPr userDrawn="1"/>
        </p:nvSpPr>
        <p:spPr>
          <a:xfrm>
            <a:off x="-1" y="5750004"/>
            <a:ext cx="12192001" cy="1107996"/>
          </a:xfrm>
          <a:prstGeom prst="rect">
            <a:avLst/>
          </a:prstGeom>
          <a:solidFill>
            <a:srgbClr val="29130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ltGray">
          <a:xfrm>
            <a:off x="5854261" y="2861442"/>
            <a:ext cx="5349766" cy="110799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lang="en-US" sz="36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6BC0DF-7C80-07CB-A76D-9F88EC41890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 l="3840" t="17649" r="34449" b="18061"/>
          <a:stretch>
            <a:fillRect/>
          </a:stretch>
        </p:blipFill>
        <p:spPr>
          <a:xfrm>
            <a:off x="463604" y="6006206"/>
            <a:ext cx="2878685" cy="595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0262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23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A056C1B-6452-9712-BF8D-2594A7D8482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990C4D2-F657-151E-D2A8-259BDA26A473}"/>
              </a:ext>
            </a:extLst>
          </p:cNvPr>
          <p:cNvSpPr/>
          <p:nvPr userDrawn="1"/>
        </p:nvSpPr>
        <p:spPr>
          <a:xfrm>
            <a:off x="0" y="0"/>
            <a:ext cx="13716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8176004-C314-78F3-EDFD-56E506871839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808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671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 rIns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0280CF3C-6131-7DA3-696F-02E6F5D2095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1903616-56AD-C05E-81C7-0B23AC2E0CD7}"/>
              </a:ext>
            </a:extLst>
          </p:cNvPr>
          <p:cNvSpPr/>
          <p:nvPr userDrawn="1"/>
        </p:nvSpPr>
        <p:spPr>
          <a:xfrm>
            <a:off x="0" y="0"/>
            <a:ext cx="13716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E240E84-C599-4CEB-5F1C-7B1ABDE5110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205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50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 rIns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F21A4CA-C66F-EC97-788D-E1603992976D}"/>
              </a:ext>
            </a:extLst>
          </p:cNvPr>
          <p:cNvSpPr/>
          <p:nvPr userDrawn="1"/>
        </p:nvSpPr>
        <p:spPr>
          <a:xfrm>
            <a:off x="0" y="0"/>
            <a:ext cx="13716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51CADE7-93B6-E3C3-7FC2-6F6D5D14411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3876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4206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 rIns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E2C4BD-6045-3EC1-FD4D-AD5E6BAE994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3F8564-156E-0357-1769-6F916520034D}"/>
              </a:ext>
            </a:extLst>
          </p:cNvPr>
          <p:cNvSpPr/>
          <p:nvPr userDrawn="1"/>
        </p:nvSpPr>
        <p:spPr>
          <a:xfrm>
            <a:off x="0" y="0"/>
            <a:ext cx="13716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2816F82-6EE5-6AF9-423A-026B6D32DAE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9349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4206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 rIns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E2C4BD-6045-3EC1-FD4D-AD5E6BAE994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3F8564-156E-0357-1769-6F916520034D}"/>
              </a:ext>
            </a:extLst>
          </p:cNvPr>
          <p:cNvSpPr/>
          <p:nvPr userDrawn="1"/>
        </p:nvSpPr>
        <p:spPr>
          <a:xfrm>
            <a:off x="0" y="0"/>
            <a:ext cx="13716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2816F82-6EE5-6AF9-423A-026B6D32DAE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B232706-C22D-5F0E-20FB-617030C4258B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30" r="14830"/>
          <a:stretch>
            <a:fillRect/>
          </a:stretch>
        </p:blipFill>
        <p:spPr>
          <a:xfrm>
            <a:off x="8781416" y="0"/>
            <a:ext cx="34105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6444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254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 flipH="1">
            <a:off x="0" y="0"/>
            <a:ext cx="3413760" cy="685800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6A9404E-59ED-A1C9-B609-54611F079869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007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740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 flipH="1">
            <a:off x="0" y="0"/>
            <a:ext cx="4364736" cy="685800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4C06E222-79FA-06BC-4EE1-0F532B4CAE5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DCDCE53-B05C-9D0D-77F9-C5D34C048C1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1988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5313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 flipH="1">
            <a:off x="0" y="0"/>
            <a:ext cx="6092952" cy="685800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 rIns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BF7DDB5B-EF2E-7411-8CD1-625A5ED0B3F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939EBA8-9AC0-3C32-B464-810E086A83C5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5957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2829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 flipH="1">
            <a:off x="0" y="0"/>
            <a:ext cx="7830312" cy="685800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 rIns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B4905BB0-2756-106B-D0BF-804CD1AF116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93BEA1E-1746-A027-757C-8242E2110A4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3512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127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F409B0A7-72B1-EDBA-1B87-83160349F1B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26" r="7614"/>
          <a:stretch>
            <a:fillRect/>
          </a:stretch>
        </p:blipFill>
        <p:spPr>
          <a:xfrm rot="16200000">
            <a:off x="2667000" y="-2667000"/>
            <a:ext cx="6858000" cy="12192000"/>
          </a:xfrm>
          <a:prstGeom prst="rect">
            <a:avLst/>
          </a:prstGeom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2183666-D321-913A-48FF-A32BADEC0E16}"/>
              </a:ext>
            </a:extLst>
          </p:cNvPr>
          <p:cNvSpPr/>
          <p:nvPr userDrawn="1"/>
        </p:nvSpPr>
        <p:spPr>
          <a:xfrm>
            <a:off x="-1" y="-1"/>
            <a:ext cx="12192001" cy="6858001"/>
          </a:xfrm>
          <a:prstGeom prst="rect">
            <a:avLst/>
          </a:prstGeom>
          <a:solidFill>
            <a:schemeClr val="accent1">
              <a:alpha val="79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 rIns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B4905BB0-2756-106B-D0BF-804CD1AF116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93BEA1E-1746-A027-757C-8242E2110A4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5738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rgbClr val="2913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414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B91ED977-1F7E-9FAA-2243-F9FBB6E1677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1" r="13487"/>
          <a:stretch>
            <a:fillRect/>
          </a:stretch>
        </p:blipFill>
        <p:spPr>
          <a:xfrm rot="5400000">
            <a:off x="2667000" y="-2667000"/>
            <a:ext cx="6858000" cy="12192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451CA0-E30B-1900-50A2-0ECB38532921}"/>
              </a:ext>
            </a:extLst>
          </p:cNvPr>
          <p:cNvSpPr/>
          <p:nvPr userDrawn="1"/>
        </p:nvSpPr>
        <p:spPr>
          <a:xfrm>
            <a:off x="-1" y="5750004"/>
            <a:ext cx="12192001" cy="1107996"/>
          </a:xfrm>
          <a:prstGeom prst="rect">
            <a:avLst/>
          </a:prstGeom>
          <a:solidFill>
            <a:srgbClr val="29130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ltGray">
          <a:xfrm>
            <a:off x="547688" y="598567"/>
            <a:ext cx="5243512" cy="110799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lang="en-US" sz="36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6BC0DF-7C80-07CB-A76D-9F88EC41890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 l="3840" t="17649" r="34449" b="18061"/>
          <a:stretch>
            <a:fillRect/>
          </a:stretch>
        </p:blipFill>
        <p:spPr>
          <a:xfrm>
            <a:off x="463604" y="6006206"/>
            <a:ext cx="2878685" cy="595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1757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5515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 flipH="1">
            <a:off x="0" y="0"/>
            <a:ext cx="8781416" cy="685800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 rIns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0C80D33-A2FE-B58D-BD52-9026FE6C5DE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61D2256-A209-517C-8772-DDF69F652AC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8259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9153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 rIns="0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2C017D8-D823-16BF-8272-BD5C7E04B81A}"/>
              </a:ext>
            </a:extLst>
          </p:cNvPr>
          <p:cNvSpPr/>
          <p:nvPr userDrawn="1"/>
        </p:nvSpPr>
        <p:spPr>
          <a:xfrm>
            <a:off x="0" y="0"/>
            <a:ext cx="13716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DDB21B8D-BA20-D1CA-3205-EBED28A8D87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1219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">
    <p:bg>
      <p:bgPr>
        <a:solidFill>
          <a:srgbClr val="2913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1322AE-7121-EBF2-9B26-075B48D2E39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3840" t="21783" r="34449" b="18061"/>
          <a:stretch>
            <a:fillRect/>
          </a:stretch>
        </p:blipFill>
        <p:spPr>
          <a:xfrm>
            <a:off x="3389586" y="2890345"/>
            <a:ext cx="4740165" cy="917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3582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475287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0893AE-B1F9-6009-64A6-BAB173EEC8F7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30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3" imgH="424" progId="TCLayout.ActiveDocument.1">
                  <p:embed/>
                </p:oleObj>
              </mc:Choice>
              <mc:Fallback>
                <p:oleObj name="think-cell Slide" r:id="rId3" imgW="423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0893AE-B1F9-6009-64A6-BAB173EEC8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F6CE5-E047-55F4-98D4-D3ADADE87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47137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E96E0A7-7B5B-9D79-AEBB-76FADEBC18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723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47688" y="5429028"/>
            <a:ext cx="3667518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ltGray">
          <a:xfrm>
            <a:off x="548829" y="4613806"/>
            <a:ext cx="3666376" cy="61555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ltGray">
          <a:xfrm>
            <a:off x="548828" y="2753131"/>
            <a:ext cx="3666376" cy="166199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lang="en-US" sz="3600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3370495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336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067804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067804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8664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0926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067804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067804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5740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5141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rIns="0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57876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132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653896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42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rIns="0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321300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322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A2802C6-B8F4-D3E4-3D8F-2C1D0A696135}"/>
              </a:ext>
            </a:extLst>
          </p:cNvPr>
          <p:cNvSpPr/>
          <p:nvPr userDrawn="1"/>
        </p:nvSpPr>
        <p:spPr>
          <a:xfrm>
            <a:off x="0" y="0"/>
            <a:ext cx="13716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B4FD791-29BA-78C2-0832-14BB4DE62D85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0805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9" Type="http://schemas.openxmlformats.org/officeDocument/2006/relationships/tags" Target="../tags/tag14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9.xml"/><Relationship Id="rId42" Type="http://schemas.openxmlformats.org/officeDocument/2006/relationships/tags" Target="../tags/tag17.xml"/><Relationship Id="rId47" Type="http://schemas.openxmlformats.org/officeDocument/2006/relationships/oleObject" Target="../embeddings/oleObject1.bin"/><Relationship Id="rId50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4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tags" Target="../tags/tag12.xml"/><Relationship Id="rId40" Type="http://schemas.openxmlformats.org/officeDocument/2006/relationships/tags" Target="../tags/tag15.xml"/><Relationship Id="rId45" Type="http://schemas.openxmlformats.org/officeDocument/2006/relationships/tags" Target="../tags/tag2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tags" Target="../tags/tag11.xml"/><Relationship Id="rId49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4" Type="http://schemas.openxmlformats.org/officeDocument/2006/relationships/tags" Target="../tags/tag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tags" Target="../tags/tag10.xml"/><Relationship Id="rId43" Type="http://schemas.openxmlformats.org/officeDocument/2006/relationships/tags" Target="../tags/tag18.xml"/><Relationship Id="rId48" Type="http://schemas.openxmlformats.org/officeDocument/2006/relationships/image" Target="../media/image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8.xml"/><Relationship Id="rId38" Type="http://schemas.openxmlformats.org/officeDocument/2006/relationships/tags" Target="../tags/tag13.xml"/><Relationship Id="rId46" Type="http://schemas.openxmlformats.org/officeDocument/2006/relationships/tags" Target="../tags/tag21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945133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413" imgH="416" progId="TCLayout.ActiveDocument.1">
                  <p:embed/>
                </p:oleObj>
              </mc:Choice>
              <mc:Fallback>
                <p:oleObj name="think-cell Slide" r:id="rId4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7" y="172212"/>
            <a:ext cx="97208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5987738" y="2170800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bove Chart Exhibit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LegendLines" hidden="1">
            <a:extLst>
              <a:ext uri="{FF2B5EF4-FFF2-40B4-BE49-F238E27FC236}">
                <a16:creationId xmlns:a16="http://schemas.microsoft.com/office/drawing/2014/main" id="{3500D6B7-5A5D-902F-DB96-F63AFD2BD1BF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8" name="Legend1" hidden="1">
              <a:extLst>
                <a:ext uri="{FF2B5EF4-FFF2-40B4-BE49-F238E27FC236}">
                  <a16:creationId xmlns:a16="http://schemas.microsoft.com/office/drawing/2014/main" id="{D5625EA5-72BF-17CB-F1CC-6083806C1C91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9" name="Legend2" hidden="1">
              <a:extLst>
                <a:ext uri="{FF2B5EF4-FFF2-40B4-BE49-F238E27FC236}">
                  <a16:creationId xmlns:a16="http://schemas.microsoft.com/office/drawing/2014/main" id="{49201902-4DBF-551A-9DF0-38B2032A1CF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" name="Legend3" hidden="1">
              <a:extLst>
                <a:ext uri="{FF2B5EF4-FFF2-40B4-BE49-F238E27FC236}">
                  <a16:creationId xmlns:a16="http://schemas.microsoft.com/office/drawing/2014/main" id="{D4F8CB80-EB82-7D41-68ED-D1171480B24E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" name="LineLegend3" hidden="1">
              <a:extLst>
                <a:ext uri="{FF2B5EF4-FFF2-40B4-BE49-F238E27FC236}">
                  <a16:creationId xmlns:a16="http://schemas.microsoft.com/office/drawing/2014/main" id="{9378C807-447F-F6C6-C542-201F9462CE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LineLegend2" hidden="1">
              <a:extLst>
                <a:ext uri="{FF2B5EF4-FFF2-40B4-BE49-F238E27FC236}">
                  <a16:creationId xmlns:a16="http://schemas.microsoft.com/office/drawing/2014/main" id="{A37B2CDB-CA72-7A3C-6350-015B2E2B50C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LineLegend1" hidden="1">
              <a:extLst>
                <a:ext uri="{FF2B5EF4-FFF2-40B4-BE49-F238E27FC236}">
                  <a16:creationId xmlns:a16="http://schemas.microsoft.com/office/drawing/2014/main" id="{074406F4-2130-F50D-D32B-EE6760191B4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" name="LegendMoons" hidden="1">
            <a:extLst>
              <a:ext uri="{FF2B5EF4-FFF2-40B4-BE49-F238E27FC236}">
                <a16:creationId xmlns:a16="http://schemas.microsoft.com/office/drawing/2014/main" id="{663F3A0B-CF24-CCBB-B9FA-FF77AF687007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" name="Legend1" hidden="1">
              <a:extLst>
                <a:ext uri="{FF2B5EF4-FFF2-40B4-BE49-F238E27FC236}">
                  <a16:creationId xmlns:a16="http://schemas.microsoft.com/office/drawing/2014/main" id="{B657C3CF-B973-1726-5EB5-B38BBE8B227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" name="Legend2" hidden="1">
              <a:extLst>
                <a:ext uri="{FF2B5EF4-FFF2-40B4-BE49-F238E27FC236}">
                  <a16:creationId xmlns:a16="http://schemas.microsoft.com/office/drawing/2014/main" id="{02AF837D-A569-082A-1A31-8ECCA1C8C907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" name="Legend3" hidden="1">
              <a:extLst>
                <a:ext uri="{FF2B5EF4-FFF2-40B4-BE49-F238E27FC236}">
                  <a16:creationId xmlns:a16="http://schemas.microsoft.com/office/drawing/2014/main" id="{C525E1FE-A208-BA4A-C33C-FCF1FE0E5F11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" name="Legend4" hidden="1">
              <a:extLst>
                <a:ext uri="{FF2B5EF4-FFF2-40B4-BE49-F238E27FC236}">
                  <a16:creationId xmlns:a16="http://schemas.microsoft.com/office/drawing/2014/main" id="{59AC0DD1-7C9A-8750-6EE4-0EEFDD99DCDB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0" name="Legend5" hidden="1">
              <a:extLst>
                <a:ext uri="{FF2B5EF4-FFF2-40B4-BE49-F238E27FC236}">
                  <a16:creationId xmlns:a16="http://schemas.microsoft.com/office/drawing/2014/main" id="{B35BD1A8-0C81-B84B-B5EF-A8583AEF25E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21" name="MoonLegend1" hidden="1">
              <a:extLst>
                <a:ext uri="{FF2B5EF4-FFF2-40B4-BE49-F238E27FC236}">
                  <a16:creationId xmlns:a16="http://schemas.microsoft.com/office/drawing/2014/main" id="{764CEDD6-C7B9-BA5F-699C-EDC9AB0578D8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4" name="Oval 33" hidden="1">
                <a:extLst>
                  <a:ext uri="{FF2B5EF4-FFF2-40B4-BE49-F238E27FC236}">
                    <a16:creationId xmlns:a16="http://schemas.microsoft.com/office/drawing/2014/main" id="{D9089F9F-514F-20B9-ECFE-3FD2F114EAE9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Arc 34" hidden="1">
                <a:extLst>
                  <a:ext uri="{FF2B5EF4-FFF2-40B4-BE49-F238E27FC236}">
                    <a16:creationId xmlns:a16="http://schemas.microsoft.com/office/drawing/2014/main" id="{BC9E1BE7-6119-A0BE-2994-B672DE069218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MoonLegend2" hidden="1">
              <a:extLst>
                <a:ext uri="{FF2B5EF4-FFF2-40B4-BE49-F238E27FC236}">
                  <a16:creationId xmlns:a16="http://schemas.microsoft.com/office/drawing/2014/main" id="{8B6B86FF-BF8B-6648-F04B-99EB70D5D05B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2" name="Oval 31" hidden="1">
                <a:extLst>
                  <a:ext uri="{FF2B5EF4-FFF2-40B4-BE49-F238E27FC236}">
                    <a16:creationId xmlns:a16="http://schemas.microsoft.com/office/drawing/2014/main" id="{A51A2B27-552F-B260-1264-4E118006110B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Arc 32" hidden="1">
                <a:extLst>
                  <a:ext uri="{FF2B5EF4-FFF2-40B4-BE49-F238E27FC236}">
                    <a16:creationId xmlns:a16="http://schemas.microsoft.com/office/drawing/2014/main" id="{97D9301E-9281-0834-4234-7BEFCAF82DCF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MoonLegend3" hidden="1">
              <a:extLst>
                <a:ext uri="{FF2B5EF4-FFF2-40B4-BE49-F238E27FC236}">
                  <a16:creationId xmlns:a16="http://schemas.microsoft.com/office/drawing/2014/main" id="{485EB1FF-D0E6-7680-10D5-CD46A040A917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" name="Oval 29" hidden="1">
                <a:extLst>
                  <a:ext uri="{FF2B5EF4-FFF2-40B4-BE49-F238E27FC236}">
                    <a16:creationId xmlns:a16="http://schemas.microsoft.com/office/drawing/2014/main" id="{81472DA9-5DF7-F7FE-10AD-7EAEC028078B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Arc 30" hidden="1">
                <a:extLst>
                  <a:ext uri="{FF2B5EF4-FFF2-40B4-BE49-F238E27FC236}">
                    <a16:creationId xmlns:a16="http://schemas.microsoft.com/office/drawing/2014/main" id="{83EE362D-7F24-B7D8-9151-2704314C28F5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MoonLegend4" hidden="1">
              <a:extLst>
                <a:ext uri="{FF2B5EF4-FFF2-40B4-BE49-F238E27FC236}">
                  <a16:creationId xmlns:a16="http://schemas.microsoft.com/office/drawing/2014/main" id="{07C1FCC8-8E69-EF72-1BDF-B7B8DEF06993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" name="Oval 27" hidden="1">
                <a:extLst>
                  <a:ext uri="{FF2B5EF4-FFF2-40B4-BE49-F238E27FC236}">
                    <a16:creationId xmlns:a16="http://schemas.microsoft.com/office/drawing/2014/main" id="{DB0BDBFD-808A-D0AC-565F-FC3EB297BC8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Arc 28" hidden="1">
                <a:extLst>
                  <a:ext uri="{FF2B5EF4-FFF2-40B4-BE49-F238E27FC236}">
                    <a16:creationId xmlns:a16="http://schemas.microsoft.com/office/drawing/2014/main" id="{D88D7074-0EB7-5BC2-DE1C-DEA0F9204EF3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5" name="MoonLegend5" hidden="1">
              <a:extLst>
                <a:ext uri="{FF2B5EF4-FFF2-40B4-BE49-F238E27FC236}">
                  <a16:creationId xmlns:a16="http://schemas.microsoft.com/office/drawing/2014/main" id="{F76E62ED-9972-A93B-5282-B2CB0D6831A4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6" name="Oval 25" hidden="1">
                <a:extLst>
                  <a:ext uri="{FF2B5EF4-FFF2-40B4-BE49-F238E27FC236}">
                    <a16:creationId xmlns:a16="http://schemas.microsoft.com/office/drawing/2014/main" id="{F0100C2B-E0AA-BB18-A9BE-65D7F96B5AA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Arc 26" hidden="1">
                <a:extLst>
                  <a:ext uri="{FF2B5EF4-FFF2-40B4-BE49-F238E27FC236}">
                    <a16:creationId xmlns:a16="http://schemas.microsoft.com/office/drawing/2014/main" id="{93E2B77F-2E9F-596B-3BBF-CCC9AB1FDC2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6" name="LegendBoxes" hidden="1">
            <a:extLst>
              <a:ext uri="{FF2B5EF4-FFF2-40B4-BE49-F238E27FC236}">
                <a16:creationId xmlns:a16="http://schemas.microsoft.com/office/drawing/2014/main" id="{140AD1E8-136B-4DEB-62AD-22F3DBA0B1A4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37" name="RectangleLegend1" hidden="1">
              <a:extLst>
                <a:ext uri="{FF2B5EF4-FFF2-40B4-BE49-F238E27FC236}">
                  <a16:creationId xmlns:a16="http://schemas.microsoft.com/office/drawing/2014/main" id="{9E377FD1-02AF-5DBD-F998-90A9C623F34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RectangleLegend2" hidden="1">
              <a:extLst>
                <a:ext uri="{FF2B5EF4-FFF2-40B4-BE49-F238E27FC236}">
                  <a16:creationId xmlns:a16="http://schemas.microsoft.com/office/drawing/2014/main" id="{D6B837E8-E96E-F789-F026-C763C3051B5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RectangleLegend3" hidden="1">
              <a:extLst>
                <a:ext uri="{FF2B5EF4-FFF2-40B4-BE49-F238E27FC236}">
                  <a16:creationId xmlns:a16="http://schemas.microsoft.com/office/drawing/2014/main" id="{271C01A7-BB44-883B-784C-260054D3B8C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tangleLegend4" hidden="1">
              <a:extLst>
                <a:ext uri="{FF2B5EF4-FFF2-40B4-BE49-F238E27FC236}">
                  <a16:creationId xmlns:a16="http://schemas.microsoft.com/office/drawing/2014/main" id="{F018BF71-A276-50C7-BD5B-A8D1E5F334E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RectangleLegend5" hidden="1">
              <a:extLst>
                <a:ext uri="{FF2B5EF4-FFF2-40B4-BE49-F238E27FC236}">
                  <a16:creationId xmlns:a16="http://schemas.microsoft.com/office/drawing/2014/main" id="{B9DC9421-166F-421F-8A20-2F27A35455D8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Legend1" hidden="1">
              <a:extLst>
                <a:ext uri="{FF2B5EF4-FFF2-40B4-BE49-F238E27FC236}">
                  <a16:creationId xmlns:a16="http://schemas.microsoft.com/office/drawing/2014/main" id="{F8A3DD92-67BD-AF19-62D4-5E9572656958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3" name="Legend2" hidden="1">
              <a:extLst>
                <a:ext uri="{FF2B5EF4-FFF2-40B4-BE49-F238E27FC236}">
                  <a16:creationId xmlns:a16="http://schemas.microsoft.com/office/drawing/2014/main" id="{E32056A9-3164-EF66-5C9B-4C58A3ADF3AF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4" name="Legend3" hidden="1">
              <a:extLst>
                <a:ext uri="{FF2B5EF4-FFF2-40B4-BE49-F238E27FC236}">
                  <a16:creationId xmlns:a16="http://schemas.microsoft.com/office/drawing/2014/main" id="{3CBEDA66-F13C-BFEC-F94D-A598E74717FE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5" name="Legend4" hidden="1">
              <a:extLst>
                <a:ext uri="{FF2B5EF4-FFF2-40B4-BE49-F238E27FC236}">
                  <a16:creationId xmlns:a16="http://schemas.microsoft.com/office/drawing/2014/main" id="{E62C3BF2-396A-1816-65B8-F7D571A54995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6" name="Legend5" hidden="1">
              <a:extLst>
                <a:ext uri="{FF2B5EF4-FFF2-40B4-BE49-F238E27FC236}">
                  <a16:creationId xmlns:a16="http://schemas.microsoft.com/office/drawing/2014/main" id="{90DC5701-185B-43AB-3466-10484E0ADA5B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159" name="Rectangle 158">
            <a:extLst>
              <a:ext uri="{FF2B5EF4-FFF2-40B4-BE49-F238E27FC236}">
                <a16:creationId xmlns:a16="http://schemas.microsoft.com/office/drawing/2014/main" id="{11C76B03-0253-A593-41D3-2D0825B70965}"/>
              </a:ext>
            </a:extLst>
          </p:cNvPr>
          <p:cNvSpPr/>
          <p:nvPr userDrawn="1"/>
        </p:nvSpPr>
        <p:spPr>
          <a:xfrm>
            <a:off x="0" y="0"/>
            <a:ext cx="13716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3F99E42D-6CCB-9D8D-7748-E7D558ECCDDA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0912409" y="6163544"/>
            <a:ext cx="459784" cy="46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43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727" r:id="rId2"/>
    <p:sldLayoutId id="2147483725" r:id="rId3"/>
    <p:sldLayoutId id="2147483675" r:id="rId4"/>
    <p:sldLayoutId id="2147483726" r:id="rId5"/>
    <p:sldLayoutId id="2147483676" r:id="rId6"/>
    <p:sldLayoutId id="2147483677" r:id="rId7"/>
    <p:sldLayoutId id="2147483678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730" r:id="rId14"/>
    <p:sldLayoutId id="2147483685" r:id="rId15"/>
    <p:sldLayoutId id="2147483686" r:id="rId16"/>
    <p:sldLayoutId id="2147483687" r:id="rId17"/>
    <p:sldLayoutId id="2147483688" r:id="rId18"/>
    <p:sldLayoutId id="2147483728" r:id="rId19"/>
    <p:sldLayoutId id="2147483689" r:id="rId20"/>
    <p:sldLayoutId id="2147483695" r:id="rId21"/>
    <p:sldLayoutId id="2147483697" r:id="rId22"/>
    <p:sldLayoutId id="2147483696" r:id="rId23"/>
    <p:sldLayoutId id="2147483700" r:id="rId24"/>
    <p:sldLayoutId id="2147483729" r:id="rId2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0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39.xml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40.xml"/><Relationship Id="rId4" Type="http://schemas.openxmlformats.org/officeDocument/2006/relationships/image" Target="../media/image1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41.xml"/><Relationship Id="rId4" Type="http://schemas.openxmlformats.org/officeDocument/2006/relationships/image" Target="../media/image1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42.xml"/><Relationship Id="rId4" Type="http://schemas.openxmlformats.org/officeDocument/2006/relationships/image" Target="../media/image1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13" Type="http://schemas.openxmlformats.org/officeDocument/2006/relationships/tags" Target="../tags/tag192.xml"/><Relationship Id="rId18" Type="http://schemas.openxmlformats.org/officeDocument/2006/relationships/tags" Target="../tags/tag197.xml"/><Relationship Id="rId26" Type="http://schemas.openxmlformats.org/officeDocument/2006/relationships/oleObject" Target="../embeddings/oleObject24.bin"/><Relationship Id="rId3" Type="http://schemas.openxmlformats.org/officeDocument/2006/relationships/tags" Target="../tags/tag182.xml"/><Relationship Id="rId21" Type="http://schemas.openxmlformats.org/officeDocument/2006/relationships/tags" Target="../tags/tag200.xml"/><Relationship Id="rId7" Type="http://schemas.openxmlformats.org/officeDocument/2006/relationships/tags" Target="../tags/tag186.xml"/><Relationship Id="rId12" Type="http://schemas.openxmlformats.org/officeDocument/2006/relationships/tags" Target="../tags/tag191.xml"/><Relationship Id="rId17" Type="http://schemas.openxmlformats.org/officeDocument/2006/relationships/tags" Target="../tags/tag196.xml"/><Relationship Id="rId25" Type="http://schemas.openxmlformats.org/officeDocument/2006/relationships/slideLayout" Target="../slideLayouts/slideLayout4.xml"/><Relationship Id="rId2" Type="http://schemas.openxmlformats.org/officeDocument/2006/relationships/tags" Target="../tags/tag181.xml"/><Relationship Id="rId16" Type="http://schemas.openxmlformats.org/officeDocument/2006/relationships/tags" Target="../tags/tag195.xml"/><Relationship Id="rId20" Type="http://schemas.openxmlformats.org/officeDocument/2006/relationships/tags" Target="../tags/tag199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11" Type="http://schemas.openxmlformats.org/officeDocument/2006/relationships/tags" Target="../tags/tag190.xml"/><Relationship Id="rId24" Type="http://schemas.openxmlformats.org/officeDocument/2006/relationships/tags" Target="../tags/tag203.xml"/><Relationship Id="rId5" Type="http://schemas.openxmlformats.org/officeDocument/2006/relationships/tags" Target="../tags/tag184.xml"/><Relationship Id="rId15" Type="http://schemas.openxmlformats.org/officeDocument/2006/relationships/tags" Target="../tags/tag194.xml"/><Relationship Id="rId23" Type="http://schemas.openxmlformats.org/officeDocument/2006/relationships/tags" Target="../tags/tag202.xml"/><Relationship Id="rId28" Type="http://schemas.openxmlformats.org/officeDocument/2006/relationships/chart" Target="../charts/chart1.xml"/><Relationship Id="rId10" Type="http://schemas.openxmlformats.org/officeDocument/2006/relationships/tags" Target="../tags/tag189.xml"/><Relationship Id="rId19" Type="http://schemas.openxmlformats.org/officeDocument/2006/relationships/tags" Target="../tags/tag198.xml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4" Type="http://schemas.openxmlformats.org/officeDocument/2006/relationships/tags" Target="../tags/tag193.xml"/><Relationship Id="rId22" Type="http://schemas.openxmlformats.org/officeDocument/2006/relationships/tags" Target="../tags/tag201.xml"/><Relationship Id="rId27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216.xml"/><Relationship Id="rId18" Type="http://schemas.openxmlformats.org/officeDocument/2006/relationships/tags" Target="../tags/tag221.xml"/><Relationship Id="rId26" Type="http://schemas.openxmlformats.org/officeDocument/2006/relationships/tags" Target="../tags/tag229.xml"/><Relationship Id="rId3" Type="http://schemas.openxmlformats.org/officeDocument/2006/relationships/tags" Target="../tags/tag206.xml"/><Relationship Id="rId21" Type="http://schemas.openxmlformats.org/officeDocument/2006/relationships/tags" Target="../tags/tag224.xml"/><Relationship Id="rId34" Type="http://schemas.openxmlformats.org/officeDocument/2006/relationships/chart" Target="../charts/chart2.xml"/><Relationship Id="rId7" Type="http://schemas.openxmlformats.org/officeDocument/2006/relationships/tags" Target="../tags/tag210.xml"/><Relationship Id="rId12" Type="http://schemas.openxmlformats.org/officeDocument/2006/relationships/tags" Target="../tags/tag215.xml"/><Relationship Id="rId17" Type="http://schemas.openxmlformats.org/officeDocument/2006/relationships/tags" Target="../tags/tag220.xml"/><Relationship Id="rId25" Type="http://schemas.openxmlformats.org/officeDocument/2006/relationships/tags" Target="../tags/tag228.xml"/><Relationship Id="rId33" Type="http://schemas.openxmlformats.org/officeDocument/2006/relationships/image" Target="../media/image13.emf"/><Relationship Id="rId2" Type="http://schemas.openxmlformats.org/officeDocument/2006/relationships/tags" Target="../tags/tag205.xml"/><Relationship Id="rId16" Type="http://schemas.openxmlformats.org/officeDocument/2006/relationships/tags" Target="../tags/tag219.xml"/><Relationship Id="rId20" Type="http://schemas.openxmlformats.org/officeDocument/2006/relationships/tags" Target="../tags/tag223.xml"/><Relationship Id="rId29" Type="http://schemas.openxmlformats.org/officeDocument/2006/relationships/tags" Target="../tags/tag232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11" Type="http://schemas.openxmlformats.org/officeDocument/2006/relationships/tags" Target="../tags/tag214.xml"/><Relationship Id="rId24" Type="http://schemas.openxmlformats.org/officeDocument/2006/relationships/tags" Target="../tags/tag227.xml"/><Relationship Id="rId32" Type="http://schemas.openxmlformats.org/officeDocument/2006/relationships/oleObject" Target="../embeddings/oleObject25.bin"/><Relationship Id="rId5" Type="http://schemas.openxmlformats.org/officeDocument/2006/relationships/tags" Target="../tags/tag208.xml"/><Relationship Id="rId15" Type="http://schemas.openxmlformats.org/officeDocument/2006/relationships/tags" Target="../tags/tag218.xml"/><Relationship Id="rId23" Type="http://schemas.openxmlformats.org/officeDocument/2006/relationships/tags" Target="../tags/tag226.xml"/><Relationship Id="rId28" Type="http://schemas.openxmlformats.org/officeDocument/2006/relationships/tags" Target="../tags/tag231.xml"/><Relationship Id="rId36" Type="http://schemas.openxmlformats.org/officeDocument/2006/relationships/chart" Target="../charts/chart4.xml"/><Relationship Id="rId10" Type="http://schemas.openxmlformats.org/officeDocument/2006/relationships/tags" Target="../tags/tag213.xml"/><Relationship Id="rId19" Type="http://schemas.openxmlformats.org/officeDocument/2006/relationships/tags" Target="../tags/tag222.xml"/><Relationship Id="rId31" Type="http://schemas.openxmlformats.org/officeDocument/2006/relationships/slideLayout" Target="../slideLayouts/slideLayout4.xml"/><Relationship Id="rId4" Type="http://schemas.openxmlformats.org/officeDocument/2006/relationships/tags" Target="../tags/tag207.xml"/><Relationship Id="rId9" Type="http://schemas.openxmlformats.org/officeDocument/2006/relationships/tags" Target="../tags/tag212.xml"/><Relationship Id="rId14" Type="http://schemas.openxmlformats.org/officeDocument/2006/relationships/tags" Target="../tags/tag217.xml"/><Relationship Id="rId22" Type="http://schemas.openxmlformats.org/officeDocument/2006/relationships/tags" Target="../tags/tag225.xml"/><Relationship Id="rId27" Type="http://schemas.openxmlformats.org/officeDocument/2006/relationships/tags" Target="../tags/tag230.xml"/><Relationship Id="rId30" Type="http://schemas.openxmlformats.org/officeDocument/2006/relationships/tags" Target="../tags/tag233.xml"/><Relationship Id="rId35" Type="http://schemas.openxmlformats.org/officeDocument/2006/relationships/chart" Target="../charts/chart3.xml"/><Relationship Id="rId8" Type="http://schemas.openxmlformats.org/officeDocument/2006/relationships/tags" Target="../tags/tag2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34.xml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5.xml"/><Relationship Id="rId4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36.xml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7.xml"/><Relationship Id="rId4" Type="http://schemas.openxmlformats.org/officeDocument/2006/relationships/image" Target="../media/image1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38.xml"/><Relationship Id="rId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E32F414-D454-7BA3-C335-3B51D012983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87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2F414-D454-7BA3-C335-3B51D01298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A1F7AAE-38D9-B16D-25BE-4EAABF24D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814" y="3590618"/>
            <a:ext cx="5727974" cy="553998"/>
          </a:xfrm>
        </p:spPr>
        <p:txBody>
          <a:bodyPr vert="horz" wrap="square" rIns="0">
            <a:sp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D317C1F7-F720-7C0D-8CE4-271D938D729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ltGray">
          <a:xfrm>
            <a:off x="5906814" y="4386352"/>
            <a:ext cx="5349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spc="0" baseline="0" dirty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dirty="0">
                <a:latin typeface="+mn-lt"/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5907524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EA91CC2-BCE7-A479-2DFB-F1D0EA6E3E2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680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3" imgH="424" progId="TCLayout.ActiveDocument.1">
                  <p:embed/>
                </p:oleObj>
              </mc:Choice>
              <mc:Fallback>
                <p:oleObj name="think-cell Slide" r:id="rId3" imgW="423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A91CC2-BCE7-A479-2DFB-F1D0EA6E3E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2DECAF3-A18D-1FD7-A8CC-BD78BF8D5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796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9DD83E4-2978-E9BE-058E-4EDFAE774C4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492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3" imgH="424" progId="TCLayout.ActiveDocument.1">
                  <p:embed/>
                </p:oleObj>
              </mc:Choice>
              <mc:Fallback>
                <p:oleObj name="think-cell Slide" r:id="rId3" imgW="423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DD83E4-2978-E9BE-058E-4EDFAE774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AFB244B3-0822-EE0D-15C0-C1D18A2FB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EED425B-B431-66DE-109E-65181C2A0B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6FDE01B-ED13-2652-7EA4-EB2C6B6CF8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Google Shape;262;p30">
            <a:extLst>
              <a:ext uri="{FF2B5EF4-FFF2-40B4-BE49-F238E27FC236}">
                <a16:creationId xmlns:a16="http://schemas.microsoft.com/office/drawing/2014/main" id="{38B23A11-ADC9-B26B-FB9A-0D8C02123A7A}"/>
              </a:ext>
            </a:extLst>
          </p:cNvPr>
          <p:cNvSpPr txBox="1"/>
          <p:nvPr/>
        </p:nvSpPr>
        <p:spPr>
          <a:xfrm>
            <a:off x="6674069" y="1955532"/>
            <a:ext cx="4963196" cy="2739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bg1"/>
                </a:solidFill>
                <a:cs typeface="Calibri"/>
                <a:sym typeface="Arial"/>
              </a:rPr>
              <a:t>Header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lang="en-US" sz="1600" b="1" dirty="0">
              <a:solidFill>
                <a:schemeClr val="bg1"/>
              </a:solidFill>
              <a:cs typeface="Calibri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NZ" sz="1600" dirty="0">
                <a:solidFill>
                  <a:schemeClr val="bg1"/>
                </a:solidFill>
                <a:cs typeface="Calibri"/>
              </a:rPr>
              <a:t>Lorem ipsum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ol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si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me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nsectet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dipiscing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se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do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iusmo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temp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incididu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labore et dolore magna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liqu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U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ni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ad minim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enia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quis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nostru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xercitatio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llamco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laboris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nisi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liquip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x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mmodo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nsequ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Duis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ut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irur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ol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reprehender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oluptat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e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sse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illu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dolore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u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fugi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null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pariat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xcepte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si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occaec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upidat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no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proide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sunt in culpa qui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offici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eseru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mol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ni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d es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laboru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</a:t>
            </a:r>
            <a:endParaRPr sz="1600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10" name="Google Shape;262;p30">
            <a:extLst>
              <a:ext uri="{FF2B5EF4-FFF2-40B4-BE49-F238E27FC236}">
                <a16:creationId xmlns:a16="http://schemas.microsoft.com/office/drawing/2014/main" id="{D50F53C1-C71D-4003-2880-7A6F15FF320F}"/>
              </a:ext>
            </a:extLst>
          </p:cNvPr>
          <p:cNvSpPr txBox="1"/>
          <p:nvPr/>
        </p:nvSpPr>
        <p:spPr>
          <a:xfrm>
            <a:off x="547688" y="1955532"/>
            <a:ext cx="4963196" cy="2739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cs typeface="Calibri"/>
                <a:sym typeface="Arial"/>
              </a:rPr>
              <a:t>Header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lang="en-US" sz="1600" b="1" dirty="0">
              <a:cs typeface="Calibri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NZ" sz="1600" dirty="0">
                <a:cs typeface="Calibri"/>
              </a:rPr>
              <a:t>Lorem ipsum </a:t>
            </a:r>
            <a:r>
              <a:rPr lang="en-NZ" sz="1600" dirty="0" err="1">
                <a:cs typeface="Calibri"/>
              </a:rPr>
              <a:t>dolor</a:t>
            </a:r>
            <a:r>
              <a:rPr lang="en-NZ" sz="1600" dirty="0">
                <a:cs typeface="Calibri"/>
              </a:rPr>
              <a:t> sit </a:t>
            </a:r>
            <a:r>
              <a:rPr lang="en-NZ" sz="1600" dirty="0" err="1">
                <a:cs typeface="Calibri"/>
              </a:rPr>
              <a:t>amet</a:t>
            </a:r>
            <a:r>
              <a:rPr lang="en-NZ" sz="1600" dirty="0">
                <a:cs typeface="Calibri"/>
              </a:rPr>
              <a:t>, </a:t>
            </a:r>
            <a:r>
              <a:rPr lang="en-NZ" sz="1600" dirty="0" err="1">
                <a:cs typeface="Calibri"/>
              </a:rPr>
              <a:t>consectetur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adipiscing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elit</a:t>
            </a:r>
            <a:r>
              <a:rPr lang="en-NZ" sz="1600" dirty="0">
                <a:cs typeface="Calibri"/>
              </a:rPr>
              <a:t>, </a:t>
            </a:r>
            <a:r>
              <a:rPr lang="en-NZ" sz="1600" dirty="0" err="1">
                <a:cs typeface="Calibri"/>
              </a:rPr>
              <a:t>sed</a:t>
            </a:r>
            <a:r>
              <a:rPr lang="en-NZ" sz="1600" dirty="0">
                <a:cs typeface="Calibri"/>
              </a:rPr>
              <a:t> do </a:t>
            </a:r>
            <a:r>
              <a:rPr lang="en-NZ" sz="1600" dirty="0" err="1">
                <a:cs typeface="Calibri"/>
              </a:rPr>
              <a:t>eiusmod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tempor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incididun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ut</a:t>
            </a:r>
            <a:r>
              <a:rPr lang="en-NZ" sz="1600" dirty="0">
                <a:cs typeface="Calibri"/>
              </a:rPr>
              <a:t> labore et dolore magna </a:t>
            </a:r>
            <a:r>
              <a:rPr lang="en-NZ" sz="1600" dirty="0" err="1">
                <a:cs typeface="Calibri"/>
              </a:rPr>
              <a:t>aliqua</a:t>
            </a:r>
            <a:r>
              <a:rPr lang="en-NZ" sz="1600" dirty="0">
                <a:cs typeface="Calibri"/>
              </a:rPr>
              <a:t>. Ut </a:t>
            </a:r>
            <a:r>
              <a:rPr lang="en-NZ" sz="1600" dirty="0" err="1">
                <a:cs typeface="Calibri"/>
              </a:rPr>
              <a:t>enim</a:t>
            </a:r>
            <a:r>
              <a:rPr lang="en-NZ" sz="1600" dirty="0">
                <a:cs typeface="Calibri"/>
              </a:rPr>
              <a:t> ad minim </a:t>
            </a:r>
            <a:r>
              <a:rPr lang="en-NZ" sz="1600" dirty="0" err="1">
                <a:cs typeface="Calibri"/>
              </a:rPr>
              <a:t>veniam</a:t>
            </a:r>
            <a:r>
              <a:rPr lang="en-NZ" sz="1600" dirty="0">
                <a:cs typeface="Calibri"/>
              </a:rPr>
              <a:t>, </a:t>
            </a:r>
            <a:r>
              <a:rPr lang="en-NZ" sz="1600" dirty="0" err="1">
                <a:cs typeface="Calibri"/>
              </a:rPr>
              <a:t>quis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nostrud</a:t>
            </a:r>
            <a:r>
              <a:rPr lang="en-NZ" sz="1600" dirty="0">
                <a:cs typeface="Calibri"/>
              </a:rPr>
              <a:t> exercitation </a:t>
            </a:r>
            <a:r>
              <a:rPr lang="en-NZ" sz="1600" dirty="0" err="1">
                <a:cs typeface="Calibri"/>
              </a:rPr>
              <a:t>ullamco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laboris</a:t>
            </a:r>
            <a:r>
              <a:rPr lang="en-NZ" sz="1600" dirty="0">
                <a:cs typeface="Calibri"/>
              </a:rPr>
              <a:t> nisi </a:t>
            </a:r>
            <a:r>
              <a:rPr lang="en-NZ" sz="1600" dirty="0" err="1">
                <a:cs typeface="Calibri"/>
              </a:rPr>
              <a:t>u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aliquip</a:t>
            </a:r>
            <a:r>
              <a:rPr lang="en-NZ" sz="1600" dirty="0">
                <a:cs typeface="Calibri"/>
              </a:rPr>
              <a:t> ex </a:t>
            </a:r>
            <a:r>
              <a:rPr lang="en-NZ" sz="1600" dirty="0" err="1">
                <a:cs typeface="Calibri"/>
              </a:rPr>
              <a:t>ea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commodo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consequat</a:t>
            </a:r>
            <a:r>
              <a:rPr lang="en-NZ" sz="1600" dirty="0">
                <a:cs typeface="Calibri"/>
              </a:rPr>
              <a:t>. Duis </a:t>
            </a:r>
            <a:r>
              <a:rPr lang="en-NZ" sz="1600" dirty="0" err="1">
                <a:cs typeface="Calibri"/>
              </a:rPr>
              <a:t>aute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irure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dolor</a:t>
            </a:r>
            <a:r>
              <a:rPr lang="en-NZ" sz="1600" dirty="0">
                <a:cs typeface="Calibri"/>
              </a:rPr>
              <a:t> in </a:t>
            </a:r>
            <a:r>
              <a:rPr lang="en-NZ" sz="1600" dirty="0" err="1">
                <a:cs typeface="Calibri"/>
              </a:rPr>
              <a:t>reprehenderit</a:t>
            </a:r>
            <a:r>
              <a:rPr lang="en-NZ" sz="1600" dirty="0">
                <a:cs typeface="Calibri"/>
              </a:rPr>
              <a:t> in </a:t>
            </a:r>
            <a:r>
              <a:rPr lang="en-NZ" sz="1600" dirty="0" err="1">
                <a:cs typeface="Calibri"/>
              </a:rPr>
              <a:t>voluptate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velit</a:t>
            </a:r>
            <a:r>
              <a:rPr lang="en-NZ" sz="1600" dirty="0">
                <a:cs typeface="Calibri"/>
              </a:rPr>
              <a:t> esse </a:t>
            </a:r>
            <a:r>
              <a:rPr lang="en-NZ" sz="1600" dirty="0" err="1">
                <a:cs typeface="Calibri"/>
              </a:rPr>
              <a:t>cillum</a:t>
            </a:r>
            <a:r>
              <a:rPr lang="en-NZ" sz="1600" dirty="0">
                <a:cs typeface="Calibri"/>
              </a:rPr>
              <a:t> dolore </a:t>
            </a:r>
            <a:r>
              <a:rPr lang="en-NZ" sz="1600" dirty="0" err="1">
                <a:cs typeface="Calibri"/>
              </a:rPr>
              <a:t>eu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fugia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nulla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pariatur</a:t>
            </a:r>
            <a:r>
              <a:rPr lang="en-NZ" sz="1600" dirty="0">
                <a:cs typeface="Calibri"/>
              </a:rPr>
              <a:t>. </a:t>
            </a:r>
            <a:r>
              <a:rPr lang="en-NZ" sz="1600" dirty="0" err="1">
                <a:cs typeface="Calibri"/>
              </a:rPr>
              <a:t>Excepteur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sin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occaeca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cupidatat</a:t>
            </a:r>
            <a:r>
              <a:rPr lang="en-NZ" sz="1600" dirty="0">
                <a:cs typeface="Calibri"/>
              </a:rPr>
              <a:t> non </a:t>
            </a:r>
            <a:r>
              <a:rPr lang="en-NZ" sz="1600" dirty="0" err="1">
                <a:cs typeface="Calibri"/>
              </a:rPr>
              <a:t>proident</a:t>
            </a:r>
            <a:r>
              <a:rPr lang="en-NZ" sz="1600" dirty="0">
                <a:cs typeface="Calibri"/>
              </a:rPr>
              <a:t>, sunt in culpa qui </a:t>
            </a:r>
            <a:r>
              <a:rPr lang="en-NZ" sz="1600" dirty="0" err="1">
                <a:cs typeface="Calibri"/>
              </a:rPr>
              <a:t>officia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deserun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molli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anim</a:t>
            </a:r>
            <a:r>
              <a:rPr lang="en-NZ" sz="1600" dirty="0">
                <a:cs typeface="Calibri"/>
              </a:rPr>
              <a:t> id est </a:t>
            </a:r>
            <a:r>
              <a:rPr lang="en-NZ" sz="1600" dirty="0" err="1">
                <a:cs typeface="Calibri"/>
              </a:rPr>
              <a:t>laborum</a:t>
            </a:r>
            <a:r>
              <a:rPr lang="en-NZ" sz="1600" dirty="0">
                <a:cs typeface="Calibri"/>
              </a:rPr>
              <a:t>.</a:t>
            </a:r>
            <a:endParaRPr sz="16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889728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0C6F97-60DE-3745-54F6-C56F1C0A107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6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3" imgH="424" progId="TCLayout.ActiveDocument.1">
                  <p:embed/>
                </p:oleObj>
              </mc:Choice>
              <mc:Fallback>
                <p:oleObj name="think-cell Slide" r:id="rId3" imgW="423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0C6F97-60DE-3745-54F6-C56F1C0A1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A9A2F6BC-53FE-479F-53EF-7A7343F0B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3435418-AF91-232D-BBB8-375D1332538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B15585-1E5C-C163-5F26-F2F7EEB919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Google Shape;262;p30">
            <a:extLst>
              <a:ext uri="{FF2B5EF4-FFF2-40B4-BE49-F238E27FC236}">
                <a16:creationId xmlns:a16="http://schemas.microsoft.com/office/drawing/2014/main" id="{9F3AF8D1-9F63-1B5B-D94D-D43C2896EDEF}"/>
              </a:ext>
            </a:extLst>
          </p:cNvPr>
          <p:cNvSpPr txBox="1"/>
          <p:nvPr/>
        </p:nvSpPr>
        <p:spPr>
          <a:xfrm>
            <a:off x="6674069" y="1955532"/>
            <a:ext cx="4963196" cy="2739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cs typeface="Calibri"/>
                <a:sym typeface="Arial"/>
              </a:rPr>
              <a:t>Header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lang="en-US" sz="1600" b="1" dirty="0">
              <a:cs typeface="Calibri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NZ" sz="1600" dirty="0">
                <a:cs typeface="Calibri"/>
              </a:rPr>
              <a:t>Lorem ipsum </a:t>
            </a:r>
            <a:r>
              <a:rPr lang="en-NZ" sz="1600" dirty="0" err="1">
                <a:cs typeface="Calibri"/>
              </a:rPr>
              <a:t>dolor</a:t>
            </a:r>
            <a:r>
              <a:rPr lang="en-NZ" sz="1600" dirty="0">
                <a:cs typeface="Calibri"/>
              </a:rPr>
              <a:t> sit </a:t>
            </a:r>
            <a:r>
              <a:rPr lang="en-NZ" sz="1600" dirty="0" err="1">
                <a:cs typeface="Calibri"/>
              </a:rPr>
              <a:t>amet</a:t>
            </a:r>
            <a:r>
              <a:rPr lang="en-NZ" sz="1600" dirty="0">
                <a:cs typeface="Calibri"/>
              </a:rPr>
              <a:t>, </a:t>
            </a:r>
            <a:r>
              <a:rPr lang="en-NZ" sz="1600" dirty="0" err="1">
                <a:cs typeface="Calibri"/>
              </a:rPr>
              <a:t>consectetur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adipiscing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elit</a:t>
            </a:r>
            <a:r>
              <a:rPr lang="en-NZ" sz="1600" dirty="0">
                <a:cs typeface="Calibri"/>
              </a:rPr>
              <a:t>, </a:t>
            </a:r>
            <a:r>
              <a:rPr lang="en-NZ" sz="1600" dirty="0" err="1">
                <a:cs typeface="Calibri"/>
              </a:rPr>
              <a:t>sed</a:t>
            </a:r>
            <a:r>
              <a:rPr lang="en-NZ" sz="1600" dirty="0">
                <a:cs typeface="Calibri"/>
              </a:rPr>
              <a:t> do </a:t>
            </a:r>
            <a:r>
              <a:rPr lang="en-NZ" sz="1600" dirty="0" err="1">
                <a:cs typeface="Calibri"/>
              </a:rPr>
              <a:t>eiusmod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tempor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incididun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ut</a:t>
            </a:r>
            <a:r>
              <a:rPr lang="en-NZ" sz="1600" dirty="0">
                <a:cs typeface="Calibri"/>
              </a:rPr>
              <a:t> labore et dolore magna </a:t>
            </a:r>
            <a:r>
              <a:rPr lang="en-NZ" sz="1600" dirty="0" err="1">
                <a:cs typeface="Calibri"/>
              </a:rPr>
              <a:t>aliqua</a:t>
            </a:r>
            <a:r>
              <a:rPr lang="en-NZ" sz="1600" dirty="0">
                <a:cs typeface="Calibri"/>
              </a:rPr>
              <a:t>. Ut </a:t>
            </a:r>
            <a:r>
              <a:rPr lang="en-NZ" sz="1600" dirty="0" err="1">
                <a:cs typeface="Calibri"/>
              </a:rPr>
              <a:t>enim</a:t>
            </a:r>
            <a:r>
              <a:rPr lang="en-NZ" sz="1600" dirty="0">
                <a:cs typeface="Calibri"/>
              </a:rPr>
              <a:t> ad minim </a:t>
            </a:r>
            <a:r>
              <a:rPr lang="en-NZ" sz="1600" dirty="0" err="1">
                <a:cs typeface="Calibri"/>
              </a:rPr>
              <a:t>veniam</a:t>
            </a:r>
            <a:r>
              <a:rPr lang="en-NZ" sz="1600" dirty="0">
                <a:cs typeface="Calibri"/>
              </a:rPr>
              <a:t>, </a:t>
            </a:r>
            <a:r>
              <a:rPr lang="en-NZ" sz="1600" dirty="0" err="1">
                <a:cs typeface="Calibri"/>
              </a:rPr>
              <a:t>quis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nostrud</a:t>
            </a:r>
            <a:r>
              <a:rPr lang="en-NZ" sz="1600" dirty="0">
                <a:cs typeface="Calibri"/>
              </a:rPr>
              <a:t> exercitation </a:t>
            </a:r>
            <a:r>
              <a:rPr lang="en-NZ" sz="1600" dirty="0" err="1">
                <a:cs typeface="Calibri"/>
              </a:rPr>
              <a:t>ullamco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laboris</a:t>
            </a:r>
            <a:r>
              <a:rPr lang="en-NZ" sz="1600" dirty="0">
                <a:cs typeface="Calibri"/>
              </a:rPr>
              <a:t> nisi </a:t>
            </a:r>
            <a:r>
              <a:rPr lang="en-NZ" sz="1600" dirty="0" err="1">
                <a:cs typeface="Calibri"/>
              </a:rPr>
              <a:t>u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aliquip</a:t>
            </a:r>
            <a:r>
              <a:rPr lang="en-NZ" sz="1600" dirty="0">
                <a:cs typeface="Calibri"/>
              </a:rPr>
              <a:t> ex </a:t>
            </a:r>
            <a:r>
              <a:rPr lang="en-NZ" sz="1600" dirty="0" err="1">
                <a:cs typeface="Calibri"/>
              </a:rPr>
              <a:t>ea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commodo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consequat</a:t>
            </a:r>
            <a:r>
              <a:rPr lang="en-NZ" sz="1600" dirty="0">
                <a:cs typeface="Calibri"/>
              </a:rPr>
              <a:t>. Duis </a:t>
            </a:r>
            <a:r>
              <a:rPr lang="en-NZ" sz="1600" dirty="0" err="1">
                <a:cs typeface="Calibri"/>
              </a:rPr>
              <a:t>aute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irure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dolor</a:t>
            </a:r>
            <a:r>
              <a:rPr lang="en-NZ" sz="1600" dirty="0">
                <a:cs typeface="Calibri"/>
              </a:rPr>
              <a:t> in </a:t>
            </a:r>
            <a:r>
              <a:rPr lang="en-NZ" sz="1600" dirty="0" err="1">
                <a:cs typeface="Calibri"/>
              </a:rPr>
              <a:t>reprehenderit</a:t>
            </a:r>
            <a:r>
              <a:rPr lang="en-NZ" sz="1600" dirty="0">
                <a:cs typeface="Calibri"/>
              </a:rPr>
              <a:t> in </a:t>
            </a:r>
            <a:r>
              <a:rPr lang="en-NZ" sz="1600" dirty="0" err="1">
                <a:cs typeface="Calibri"/>
              </a:rPr>
              <a:t>voluptate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velit</a:t>
            </a:r>
            <a:r>
              <a:rPr lang="en-NZ" sz="1600" dirty="0">
                <a:cs typeface="Calibri"/>
              </a:rPr>
              <a:t> esse </a:t>
            </a:r>
            <a:r>
              <a:rPr lang="en-NZ" sz="1600" dirty="0" err="1">
                <a:cs typeface="Calibri"/>
              </a:rPr>
              <a:t>cillum</a:t>
            </a:r>
            <a:r>
              <a:rPr lang="en-NZ" sz="1600" dirty="0">
                <a:cs typeface="Calibri"/>
              </a:rPr>
              <a:t> dolore </a:t>
            </a:r>
            <a:r>
              <a:rPr lang="en-NZ" sz="1600" dirty="0" err="1">
                <a:cs typeface="Calibri"/>
              </a:rPr>
              <a:t>eu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fugia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nulla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pariatur</a:t>
            </a:r>
            <a:r>
              <a:rPr lang="en-NZ" sz="1600" dirty="0">
                <a:cs typeface="Calibri"/>
              </a:rPr>
              <a:t>. </a:t>
            </a:r>
            <a:r>
              <a:rPr lang="en-NZ" sz="1600" dirty="0" err="1">
                <a:cs typeface="Calibri"/>
              </a:rPr>
              <a:t>Excepteur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sin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occaeca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cupidatat</a:t>
            </a:r>
            <a:r>
              <a:rPr lang="en-NZ" sz="1600" dirty="0">
                <a:cs typeface="Calibri"/>
              </a:rPr>
              <a:t> non </a:t>
            </a:r>
            <a:r>
              <a:rPr lang="en-NZ" sz="1600" dirty="0" err="1">
                <a:cs typeface="Calibri"/>
              </a:rPr>
              <a:t>proident</a:t>
            </a:r>
            <a:r>
              <a:rPr lang="en-NZ" sz="1600" dirty="0">
                <a:cs typeface="Calibri"/>
              </a:rPr>
              <a:t>, sunt in culpa qui </a:t>
            </a:r>
            <a:r>
              <a:rPr lang="en-NZ" sz="1600" dirty="0" err="1">
                <a:cs typeface="Calibri"/>
              </a:rPr>
              <a:t>officia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deserun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molli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anim</a:t>
            </a:r>
            <a:r>
              <a:rPr lang="en-NZ" sz="1600" dirty="0">
                <a:cs typeface="Calibri"/>
              </a:rPr>
              <a:t> id est </a:t>
            </a:r>
            <a:r>
              <a:rPr lang="en-NZ" sz="1600" dirty="0" err="1">
                <a:cs typeface="Calibri"/>
              </a:rPr>
              <a:t>laborum</a:t>
            </a:r>
            <a:r>
              <a:rPr lang="en-NZ" sz="1600" dirty="0">
                <a:cs typeface="Calibri"/>
              </a:rPr>
              <a:t>.</a:t>
            </a:r>
            <a:endParaRPr sz="1600" dirty="0">
              <a:cs typeface="Calibri"/>
            </a:endParaRPr>
          </a:p>
        </p:txBody>
      </p:sp>
      <p:sp>
        <p:nvSpPr>
          <p:cNvPr id="10" name="Google Shape;262;p30">
            <a:extLst>
              <a:ext uri="{FF2B5EF4-FFF2-40B4-BE49-F238E27FC236}">
                <a16:creationId xmlns:a16="http://schemas.microsoft.com/office/drawing/2014/main" id="{1B4FE20A-440E-65CB-D87E-6F96983A5893}"/>
              </a:ext>
            </a:extLst>
          </p:cNvPr>
          <p:cNvSpPr txBox="1"/>
          <p:nvPr/>
        </p:nvSpPr>
        <p:spPr>
          <a:xfrm>
            <a:off x="547688" y="1955532"/>
            <a:ext cx="4963196" cy="2739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bg1"/>
                </a:solidFill>
                <a:cs typeface="Calibri"/>
                <a:sym typeface="Arial"/>
              </a:rPr>
              <a:t>Header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lang="en-US" sz="1600" b="1" dirty="0">
              <a:solidFill>
                <a:schemeClr val="bg1"/>
              </a:solidFill>
              <a:cs typeface="Calibri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NZ" sz="1600" dirty="0">
                <a:solidFill>
                  <a:schemeClr val="bg1"/>
                </a:solidFill>
                <a:cs typeface="Calibri"/>
              </a:rPr>
              <a:t>Lorem ipsum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ol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si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me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nsectet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dipiscing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se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do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iusmo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temp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incididu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labore et dolore magna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liqu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U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ni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ad minim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enia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quis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nostru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xercitatio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llamco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laboris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nisi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liquip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x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mmodo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nsequ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Duis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ut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irur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ol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reprehender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oluptat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e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sse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illu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dolore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u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fugi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null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pariat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xcepte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si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occaec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upidat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no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proide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sunt in culpa qui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offici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eseru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mol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ni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d es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laboru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</a:t>
            </a:r>
            <a:endParaRPr sz="1600" dirty="0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010987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BD3DDAD-4785-3E1D-36B1-188D0EAAF3B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300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3" imgH="424" progId="TCLayout.ActiveDocument.1">
                  <p:embed/>
                </p:oleObj>
              </mc:Choice>
              <mc:Fallback>
                <p:oleObj name="think-cell Slide" r:id="rId3" imgW="423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D3DDAD-4785-3E1D-36B1-188D0EAAF3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609678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644CA2-3FEB-1125-33EC-081F4599E3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69023EE-3319-1EF3-1339-4E1593EC0D0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9023EE-3319-1EF3-1339-4E1593EC0D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B34590ED-5884-A7F3-79AC-78D2F25FE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688" y="598567"/>
            <a:ext cx="5243512" cy="553998"/>
          </a:xfrm>
        </p:spPr>
        <p:txBody>
          <a:bodyPr vert="horz" wrap="square" rIns="0">
            <a:sp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0500D99D-4F20-7E1F-597D-B43873B1185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ltGray">
          <a:xfrm>
            <a:off x="547688" y="1569929"/>
            <a:ext cx="534976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spc="0" baseline="0" dirty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dirty="0">
                <a:latin typeface="+mn-lt"/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925591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11E48E0-4085-46E3-82D9-16FD8DCDEFCC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8408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81" imgH="281" progId="TCLayout.ActiveDocument.1">
                  <p:embed/>
                </p:oleObj>
              </mc:Choice>
              <mc:Fallback>
                <p:oleObj name="think-cell Slide" r:id="rId26" imgW="281" imgH="28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11E48E0-4085-46E3-82D9-16FD8DCDE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A508C326-E732-47A8-ACB6-93CE0A5915F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rIns="0" anchor="b"/>
          <a:lstStyle/>
          <a:p>
            <a:r>
              <a:rPr lang="en-US" dirty="0">
                <a:latin typeface="+mj-lt"/>
              </a:rPr>
              <a:t>1: Message Title (Arial Black 25 pt, bottom-aligned)</a:t>
            </a:r>
          </a:p>
        </p:txBody>
      </p:sp>
      <p:sp>
        <p:nvSpPr>
          <p:cNvPr id="7" name="3. Subtitle">
            <a:extLst>
              <a:ext uri="{FF2B5EF4-FFF2-40B4-BE49-F238E27FC236}">
                <a16:creationId xmlns:a16="http://schemas.microsoft.com/office/drawing/2014/main" id="{DC5808F0-8A85-48BA-BAAA-B1B4306C69B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Subtitle (Arial 16 pt, plain top-aligned)</a:t>
            </a:r>
          </a:p>
        </p:txBody>
      </p:sp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id="{B8E54E83-3B04-FCCB-21E7-5E312A46064D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13527425"/>
              </p:ext>
            </p:extLst>
          </p:nvPr>
        </p:nvGraphicFramePr>
        <p:xfrm>
          <a:off x="5921375" y="2606675"/>
          <a:ext cx="2670175" cy="1260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10" name="ColorAccent2Rectangle">
            <a:extLst>
              <a:ext uri="{FF2B5EF4-FFF2-40B4-BE49-F238E27FC236}">
                <a16:creationId xmlns:a16="http://schemas.microsoft.com/office/drawing/2014/main" id="{AD2F8E6B-A7C5-4698-9272-857398FD98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63231" y="4420189"/>
            <a:ext cx="849015" cy="7380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ColorAccent4Rectangle">
            <a:extLst>
              <a:ext uri="{FF2B5EF4-FFF2-40B4-BE49-F238E27FC236}">
                <a16:creationId xmlns:a16="http://schemas.microsoft.com/office/drawing/2014/main" id="{D6A80DD2-F1DF-42DA-A2B7-A776725B015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66628" y="4420189"/>
            <a:ext cx="849015" cy="738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2" name="ColorAccent3Rectangle">
            <a:extLst>
              <a:ext uri="{FF2B5EF4-FFF2-40B4-BE49-F238E27FC236}">
                <a16:creationId xmlns:a16="http://schemas.microsoft.com/office/drawing/2014/main" id="{F3E15D1F-A9FF-4AFB-B481-9D4549A7EE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64931" y="4420189"/>
            <a:ext cx="849015" cy="738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ctr"/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3" name="ColorBackground2Rectangle">
            <a:extLst>
              <a:ext uri="{FF2B5EF4-FFF2-40B4-BE49-F238E27FC236}">
                <a16:creationId xmlns:a16="http://schemas.microsoft.com/office/drawing/2014/main" id="{0B75BCE8-F9C0-404B-AF2B-80EDDCD50D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58136" y="4420189"/>
            <a:ext cx="849015" cy="738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ctr"/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5" name="ColorText2Rectangle">
            <a:extLst>
              <a:ext uri="{FF2B5EF4-FFF2-40B4-BE49-F238E27FC236}">
                <a16:creationId xmlns:a16="http://schemas.microsoft.com/office/drawing/2014/main" id="{2CC9E876-8B30-427B-8DAA-96DEED03577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59834" y="4420189"/>
            <a:ext cx="849015" cy="738000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7" name="ColorAccent1Rectangle">
            <a:extLst>
              <a:ext uri="{FF2B5EF4-FFF2-40B4-BE49-F238E27FC236}">
                <a16:creationId xmlns:a16="http://schemas.microsoft.com/office/drawing/2014/main" id="{632633F6-632C-4F20-A09F-C148C496A8E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61531" y="4420189"/>
            <a:ext cx="849015" cy="738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8" name="ColorAccent5Rectangle">
            <a:extLst>
              <a:ext uri="{FF2B5EF4-FFF2-40B4-BE49-F238E27FC236}">
                <a16:creationId xmlns:a16="http://schemas.microsoft.com/office/drawing/2014/main" id="{95630BBA-0590-4ECB-A725-520EA2DD45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68328" y="4420189"/>
            <a:ext cx="849015" cy="738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2" name="Rectangle 19">
            <a:extLst>
              <a:ext uri="{FF2B5EF4-FFF2-40B4-BE49-F238E27FC236}">
                <a16:creationId xmlns:a16="http://schemas.microsoft.com/office/drawing/2014/main" id="{194EBCA7-9717-4C7E-91D1-875258779F5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558136" y="5252744"/>
            <a:ext cx="849015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sz="1400" dirty="0">
                <a:solidFill>
                  <a:schemeClr val="bg1"/>
                </a:solidFill>
              </a:rPr>
              <a:t>Text 1</a:t>
            </a:r>
          </a:p>
        </p:txBody>
      </p:sp>
      <p:sp>
        <p:nvSpPr>
          <p:cNvPr id="23" name="Rectangle 19">
            <a:extLst>
              <a:ext uri="{FF2B5EF4-FFF2-40B4-BE49-F238E27FC236}">
                <a16:creationId xmlns:a16="http://schemas.microsoft.com/office/drawing/2014/main" id="{39E0EC2C-BCF6-40F3-AF2A-2AE554D214D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559834" y="5252744"/>
            <a:ext cx="849015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sz="1400" dirty="0">
                <a:solidFill>
                  <a:schemeClr val="bg1"/>
                </a:solidFill>
              </a:rPr>
              <a:t>Text 2</a:t>
            </a:r>
          </a:p>
        </p:txBody>
      </p:sp>
      <p:sp>
        <p:nvSpPr>
          <p:cNvPr id="24" name="Rectangle 19">
            <a:extLst>
              <a:ext uri="{FF2B5EF4-FFF2-40B4-BE49-F238E27FC236}">
                <a16:creationId xmlns:a16="http://schemas.microsoft.com/office/drawing/2014/main" id="{5DF674E1-6105-4275-A5A8-286262D0E12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561531" y="5252744"/>
            <a:ext cx="849015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sz="1400" dirty="0">
                <a:solidFill>
                  <a:schemeClr val="bg1"/>
                </a:solidFill>
              </a:rPr>
              <a:t>Accent 1</a:t>
            </a:r>
          </a:p>
        </p:txBody>
      </p:sp>
      <p:sp>
        <p:nvSpPr>
          <p:cNvPr id="25" name="Rectangle 19">
            <a:extLst>
              <a:ext uri="{FF2B5EF4-FFF2-40B4-BE49-F238E27FC236}">
                <a16:creationId xmlns:a16="http://schemas.microsoft.com/office/drawing/2014/main" id="{9903D3A4-FABE-471B-9FF5-AC51A3307E5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563231" y="5252744"/>
            <a:ext cx="849015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sz="1400" dirty="0">
                <a:solidFill>
                  <a:schemeClr val="bg1"/>
                </a:solidFill>
              </a:rPr>
              <a:t>Accent 2</a:t>
            </a:r>
          </a:p>
        </p:txBody>
      </p:sp>
      <p:sp>
        <p:nvSpPr>
          <p:cNvPr id="26" name="Rectangle 19">
            <a:extLst>
              <a:ext uri="{FF2B5EF4-FFF2-40B4-BE49-F238E27FC236}">
                <a16:creationId xmlns:a16="http://schemas.microsoft.com/office/drawing/2014/main" id="{B8F14A69-7960-42B2-867A-CE1E8C47222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564930" y="5252744"/>
            <a:ext cx="849015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sz="1400" dirty="0">
                <a:solidFill>
                  <a:schemeClr val="bg1"/>
                </a:solidFill>
              </a:rPr>
              <a:t>Accent 3</a:t>
            </a:r>
          </a:p>
        </p:txBody>
      </p:sp>
      <p:sp>
        <p:nvSpPr>
          <p:cNvPr id="27" name="Rectangle 19">
            <a:extLst>
              <a:ext uri="{FF2B5EF4-FFF2-40B4-BE49-F238E27FC236}">
                <a16:creationId xmlns:a16="http://schemas.microsoft.com/office/drawing/2014/main" id="{298A26D8-73EC-4E23-A2F2-4CEA96D3A35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566628" y="5252744"/>
            <a:ext cx="849015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sz="1400" dirty="0">
                <a:solidFill>
                  <a:schemeClr val="bg1"/>
                </a:solidFill>
              </a:rPr>
              <a:t>Accent 4</a:t>
            </a:r>
          </a:p>
        </p:txBody>
      </p:sp>
      <p:sp>
        <p:nvSpPr>
          <p:cNvPr id="28" name="Rectangle 19">
            <a:extLst>
              <a:ext uri="{FF2B5EF4-FFF2-40B4-BE49-F238E27FC236}">
                <a16:creationId xmlns:a16="http://schemas.microsoft.com/office/drawing/2014/main" id="{03A0104A-1B11-46E5-93CB-A59E9DFFA08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568328" y="5252744"/>
            <a:ext cx="849015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sz="1400" dirty="0">
                <a:solidFill>
                  <a:schemeClr val="bg1"/>
                </a:solidFill>
              </a:rPr>
              <a:t>Accent 5</a:t>
            </a:r>
          </a:p>
        </p:txBody>
      </p:sp>
      <p:sp>
        <p:nvSpPr>
          <p:cNvPr id="34" name="Text Box">
            <a:extLst>
              <a:ext uri="{FF2B5EF4-FFF2-40B4-BE49-F238E27FC236}">
                <a16:creationId xmlns:a16="http://schemas.microsoft.com/office/drawing/2014/main" id="{87924EA7-B442-400C-A79D-B5FC6C84D979}"/>
              </a:ext>
            </a:extLst>
          </p:cNvPr>
          <p:cNvSpPr txBox="1">
            <a:spLocks/>
          </p:cNvSpPr>
          <p:nvPr/>
        </p:nvSpPr>
        <p:spPr>
          <a:xfrm>
            <a:off x="554736" y="2170800"/>
            <a:ext cx="2484655" cy="1384995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dirty="0">
                <a:solidFill>
                  <a:schemeClr val="bg1"/>
                </a:solidFill>
                <a:cs typeface="+mn-cs"/>
              </a:rPr>
              <a:t>First level (Arial 16 pt plain)</a:t>
            </a:r>
          </a:p>
          <a:p>
            <a:pPr lvl="1" indent="-228600">
              <a:buSzPct val="110000"/>
            </a:pPr>
            <a:r>
              <a:rPr lang="en-US" dirty="0">
                <a:solidFill>
                  <a:schemeClr val="bg1"/>
                </a:solidFill>
                <a:cs typeface="+mn-cs"/>
              </a:rPr>
              <a:t>Second level</a:t>
            </a:r>
          </a:p>
          <a:p>
            <a:pPr marL="438912" lvl="2" indent="-210312">
              <a:buClr>
                <a:schemeClr val="bg2"/>
              </a:buClr>
              <a:buSzPct val="110000"/>
              <a:buFont typeface="Arial" panose="020B0604020202020204" pitchFamily="34" charset="0"/>
              <a:buChar char="‒"/>
            </a:pPr>
            <a:r>
              <a:rPr lang="en-US" dirty="0">
                <a:solidFill>
                  <a:schemeClr val="bg1"/>
                </a:solidFill>
                <a:cs typeface="+mn-cs"/>
              </a:rPr>
              <a:t>Third level</a:t>
            </a:r>
          </a:p>
          <a:p>
            <a:pPr marL="594360" lvl="3" indent="-155448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cs typeface="+mn-cs"/>
              </a:rPr>
              <a:t>Fourth level</a:t>
            </a:r>
          </a:p>
          <a:p>
            <a:pPr marL="813816" lvl="4" indent="-146304">
              <a:buClr>
                <a:schemeClr val="bg1"/>
              </a:buClr>
              <a:buFont typeface="Arial" panose="020B0604020202020204" pitchFamily="34" charset="0"/>
              <a:buChar char="̶"/>
            </a:pPr>
            <a:r>
              <a:rPr lang="en-US" dirty="0">
                <a:solidFill>
                  <a:schemeClr val="bg1"/>
                </a:solidFill>
                <a:cs typeface="+mn-cs"/>
              </a:rPr>
              <a:t>Fifth level</a:t>
            </a:r>
            <a:r>
              <a:rPr lang="en-US" baseline="30000" dirty="0">
                <a:solidFill>
                  <a:schemeClr val="bg1"/>
                </a:solidFill>
                <a:cs typeface="+mn-cs"/>
              </a:rPr>
              <a:t>1</a:t>
            </a:r>
            <a:r>
              <a:rPr lang="en-US" dirty="0">
                <a:solidFill>
                  <a:schemeClr val="bg1"/>
                </a:solidFill>
                <a:cs typeface="+mn-cs"/>
              </a:rPr>
              <a:t> </a:t>
            </a:r>
          </a:p>
        </p:txBody>
      </p:sp>
      <p:grpSp>
        <p:nvGrpSpPr>
          <p:cNvPr id="35" name="LegendLines">
            <a:extLst>
              <a:ext uri="{FF2B5EF4-FFF2-40B4-BE49-F238E27FC236}">
                <a16:creationId xmlns:a16="http://schemas.microsoft.com/office/drawing/2014/main" id="{D2867A6A-E0D8-41C8-9F3D-51E28FFF3E53}"/>
              </a:ext>
            </a:extLst>
          </p:cNvPr>
          <p:cNvGrpSpPr/>
          <p:nvPr/>
        </p:nvGrpSpPr>
        <p:grpSpPr>
          <a:xfrm>
            <a:off x="10317304" y="2824404"/>
            <a:ext cx="1251160" cy="958286"/>
            <a:chOff x="10162879" y="3243772"/>
            <a:chExt cx="1251160" cy="958286"/>
          </a:xfrm>
        </p:grpSpPr>
        <p:sp>
          <p:nvSpPr>
            <p:cNvPr id="36" name="Legend1">
              <a:extLst>
                <a:ext uri="{FF2B5EF4-FFF2-40B4-BE49-F238E27FC236}">
                  <a16:creationId xmlns:a16="http://schemas.microsoft.com/office/drawing/2014/main" id="{03C07D84-19DA-478D-A620-17E1DDD76AC5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37" name="Legend2">
              <a:extLst>
                <a:ext uri="{FF2B5EF4-FFF2-40B4-BE49-F238E27FC236}">
                  <a16:creationId xmlns:a16="http://schemas.microsoft.com/office/drawing/2014/main" id="{FC224C60-6084-4046-B9B1-6201B6B808B2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38" name="Legend3">
              <a:extLst>
                <a:ext uri="{FF2B5EF4-FFF2-40B4-BE49-F238E27FC236}">
                  <a16:creationId xmlns:a16="http://schemas.microsoft.com/office/drawing/2014/main" id="{2CD81A4B-AA4D-442A-B903-8D39B00B7CEB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39" name="LineLegend3">
              <a:extLst>
                <a:ext uri="{FF2B5EF4-FFF2-40B4-BE49-F238E27FC236}">
                  <a16:creationId xmlns:a16="http://schemas.microsoft.com/office/drawing/2014/main" id="{01732449-308B-4969-A03F-C45AD6A6B9E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solidFill>
                  <a:schemeClr val="bg1"/>
                </a:solidFill>
                <a:ea typeface="+mn-ea"/>
              </a:endParaRPr>
            </a:p>
          </p:txBody>
        </p:sp>
        <p:sp>
          <p:nvSpPr>
            <p:cNvPr id="40" name="LineLegend2">
              <a:extLst>
                <a:ext uri="{FF2B5EF4-FFF2-40B4-BE49-F238E27FC236}">
                  <a16:creationId xmlns:a16="http://schemas.microsoft.com/office/drawing/2014/main" id="{11C65CFB-98E1-4CED-960C-16BDD0F8D73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solidFill>
                  <a:schemeClr val="bg1"/>
                </a:solidFill>
                <a:ea typeface="+mn-ea"/>
              </a:endParaRPr>
            </a:p>
          </p:txBody>
        </p:sp>
        <p:sp>
          <p:nvSpPr>
            <p:cNvPr id="41" name="LineLegend1">
              <a:extLst>
                <a:ext uri="{FF2B5EF4-FFF2-40B4-BE49-F238E27FC236}">
                  <a16:creationId xmlns:a16="http://schemas.microsoft.com/office/drawing/2014/main" id="{D79AD05B-3D2D-4233-83D2-B6BD3BC3F93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solidFill>
                  <a:schemeClr val="bg1"/>
                </a:solidFill>
                <a:ea typeface="+mn-ea"/>
              </a:endParaRPr>
            </a:p>
          </p:txBody>
        </p:sp>
      </p:grpSp>
      <p:sp>
        <p:nvSpPr>
          <p:cNvPr id="42" name="5. Source">
            <a:extLst>
              <a:ext uri="{FF2B5EF4-FFF2-40B4-BE49-F238E27FC236}">
                <a16:creationId xmlns:a16="http://schemas.microsoft.com/office/drawing/2014/main" id="{2C6C6A5F-B542-40E7-AFB5-C73D32EE1CE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</a:rPr>
              <a:t>Source: Source (Arial 8 pt, plain top-aligned)</a:t>
            </a:r>
          </a:p>
        </p:txBody>
      </p:sp>
      <p:sp>
        <p:nvSpPr>
          <p:cNvPr id="44" name="Legend1">
            <a:extLst>
              <a:ext uri="{FF2B5EF4-FFF2-40B4-BE49-F238E27FC236}">
                <a16:creationId xmlns:a16="http://schemas.microsoft.com/office/drawing/2014/main" id="{4FE5ED1D-E6F5-4547-BA81-E24C10A36D8D}"/>
              </a:ext>
            </a:extLst>
          </p:cNvPr>
          <p:cNvSpPr txBox="1"/>
          <p:nvPr/>
        </p:nvSpPr>
        <p:spPr>
          <a:xfrm>
            <a:off x="11040947" y="826913"/>
            <a:ext cx="527517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45" name="Legend2">
            <a:extLst>
              <a:ext uri="{FF2B5EF4-FFF2-40B4-BE49-F238E27FC236}">
                <a16:creationId xmlns:a16="http://schemas.microsoft.com/office/drawing/2014/main" id="{BE0F145D-07B2-423D-AE12-353F47749BB2}"/>
              </a:ext>
            </a:extLst>
          </p:cNvPr>
          <p:cNvSpPr txBox="1"/>
          <p:nvPr/>
        </p:nvSpPr>
        <p:spPr>
          <a:xfrm>
            <a:off x="11040947" y="1202372"/>
            <a:ext cx="527517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46" name="Legend3">
            <a:extLst>
              <a:ext uri="{FF2B5EF4-FFF2-40B4-BE49-F238E27FC236}">
                <a16:creationId xmlns:a16="http://schemas.microsoft.com/office/drawing/2014/main" id="{59B011CD-6EDB-4018-B677-466B91330857}"/>
              </a:ext>
            </a:extLst>
          </p:cNvPr>
          <p:cNvSpPr txBox="1"/>
          <p:nvPr/>
        </p:nvSpPr>
        <p:spPr>
          <a:xfrm>
            <a:off x="11040947" y="1577831"/>
            <a:ext cx="527517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47" name="Legend4">
            <a:extLst>
              <a:ext uri="{FF2B5EF4-FFF2-40B4-BE49-F238E27FC236}">
                <a16:creationId xmlns:a16="http://schemas.microsoft.com/office/drawing/2014/main" id="{2CBF9734-FE33-4D13-A2D9-10F849E709F7}"/>
              </a:ext>
            </a:extLst>
          </p:cNvPr>
          <p:cNvSpPr txBox="1"/>
          <p:nvPr/>
        </p:nvSpPr>
        <p:spPr>
          <a:xfrm>
            <a:off x="11040947" y="1953290"/>
            <a:ext cx="527517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48" name="Legend5">
            <a:extLst>
              <a:ext uri="{FF2B5EF4-FFF2-40B4-BE49-F238E27FC236}">
                <a16:creationId xmlns:a16="http://schemas.microsoft.com/office/drawing/2014/main" id="{48D99E22-EB2D-4D01-9644-7F4CA74C5DC6}"/>
              </a:ext>
            </a:extLst>
          </p:cNvPr>
          <p:cNvSpPr txBox="1"/>
          <p:nvPr/>
        </p:nvSpPr>
        <p:spPr>
          <a:xfrm>
            <a:off x="11040947" y="2328751"/>
            <a:ext cx="527517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Legend</a:t>
            </a:r>
          </a:p>
        </p:txBody>
      </p:sp>
      <p:grpSp>
        <p:nvGrpSpPr>
          <p:cNvPr id="49" name="MoonLegend1">
            <a:extLst>
              <a:ext uri="{FF2B5EF4-FFF2-40B4-BE49-F238E27FC236}">
                <a16:creationId xmlns:a16="http://schemas.microsoft.com/office/drawing/2014/main" id="{40AAC918-2F64-42C8-B16A-1DE8BD6CED63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10688315" y="819554"/>
            <a:ext cx="228600" cy="228600"/>
            <a:chOff x="762000" y="1270000"/>
            <a:chExt cx="254000" cy="25400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3B043285-EE2D-4633-B8D3-1A91CEA9FA14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D0D0D0"/>
            </a:solidFill>
            <a:ln w="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63" name="Arc 62" hidden="1">
              <a:extLst>
                <a:ext uri="{FF2B5EF4-FFF2-40B4-BE49-F238E27FC236}">
                  <a16:creationId xmlns:a16="http://schemas.microsoft.com/office/drawing/2014/main" id="{97BCE0CB-BAB4-457C-97C9-3EF2A8E59E4B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MoonLegend2">
            <a:extLst>
              <a:ext uri="{FF2B5EF4-FFF2-40B4-BE49-F238E27FC236}">
                <a16:creationId xmlns:a16="http://schemas.microsoft.com/office/drawing/2014/main" id="{5501D544-26EB-4FDC-9C6D-63AB1150B3AA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0688315" y="1195367"/>
            <a:ext cx="228600" cy="228600"/>
            <a:chOff x="762000" y="1270000"/>
            <a:chExt cx="254000" cy="254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FDEA5C32-D5F7-4AF4-8BCA-243ADEC13EC3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D0D0D0"/>
            </a:solidFill>
            <a:ln w="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61" name="Arc 60">
              <a:extLst>
                <a:ext uri="{FF2B5EF4-FFF2-40B4-BE49-F238E27FC236}">
                  <a16:creationId xmlns:a16="http://schemas.microsoft.com/office/drawing/2014/main" id="{F9A52319-6D1F-4EDB-91B1-A0230557DF3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1" name="MoonLegend3">
            <a:extLst>
              <a:ext uri="{FF2B5EF4-FFF2-40B4-BE49-F238E27FC236}">
                <a16:creationId xmlns:a16="http://schemas.microsoft.com/office/drawing/2014/main" id="{C80C2942-898A-40CF-A37F-DD99DD38C973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10688315" y="1571182"/>
            <a:ext cx="228600" cy="228600"/>
            <a:chOff x="762000" y="1270000"/>
            <a:chExt cx="254000" cy="254000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646E110-506A-41B1-9998-824EA6F27B35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D0D0D0"/>
            </a:solidFill>
            <a:ln w="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59" name="Arc 58">
              <a:extLst>
                <a:ext uri="{FF2B5EF4-FFF2-40B4-BE49-F238E27FC236}">
                  <a16:creationId xmlns:a16="http://schemas.microsoft.com/office/drawing/2014/main" id="{8359230B-F1A7-44EA-A179-36F86230F26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MoonLegend4">
            <a:extLst>
              <a:ext uri="{FF2B5EF4-FFF2-40B4-BE49-F238E27FC236}">
                <a16:creationId xmlns:a16="http://schemas.microsoft.com/office/drawing/2014/main" id="{527F9CEB-46DF-472F-8010-860FAC05D07C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10688315" y="1946997"/>
            <a:ext cx="228600" cy="228600"/>
            <a:chOff x="762000" y="1270000"/>
            <a:chExt cx="254000" cy="25400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CEA38C1-6AB9-4B23-9CAD-4399C59E4B4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D0D0D0"/>
            </a:solidFill>
            <a:ln w="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57" name="Arc 56">
              <a:extLst>
                <a:ext uri="{FF2B5EF4-FFF2-40B4-BE49-F238E27FC236}">
                  <a16:creationId xmlns:a16="http://schemas.microsoft.com/office/drawing/2014/main" id="{DD12C660-38BB-4D51-BEAD-59139A4E1F3C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3" name="MoonLegend5">
            <a:extLst>
              <a:ext uri="{FF2B5EF4-FFF2-40B4-BE49-F238E27FC236}">
                <a16:creationId xmlns:a16="http://schemas.microsoft.com/office/drawing/2014/main" id="{E4E1FEBE-A58F-4C87-B8CD-2775F4C5E18F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10688315" y="2322813"/>
            <a:ext cx="228600" cy="228600"/>
            <a:chOff x="762000" y="1270000"/>
            <a:chExt cx="254000" cy="25400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A643A570-C1F7-42BB-89CE-3083F0B8BA1A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D0D0D0"/>
            </a:solidFill>
            <a:ln w="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55" name="Arc 54">
              <a:extLst>
                <a:ext uri="{FF2B5EF4-FFF2-40B4-BE49-F238E27FC236}">
                  <a16:creationId xmlns:a16="http://schemas.microsoft.com/office/drawing/2014/main" id="{03C79F7C-01E9-4788-8366-4154E1AF78D9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65" name="1. On-page tracker">
            <a:extLst>
              <a:ext uri="{FF2B5EF4-FFF2-40B4-BE49-F238E27FC236}">
                <a16:creationId xmlns:a16="http://schemas.microsoft.com/office/drawing/2014/main" id="{FC6F0976-85A4-42F1-A768-C664A1194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12"/>
            </p:custDataLst>
          </p:nvPr>
        </p:nvSpPr>
        <p:spPr>
          <a:xfrm>
            <a:off x="554735" y="41597"/>
            <a:ext cx="3843338" cy="123111"/>
          </a:xfr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Tracker (Arial 8 pt, plain top-aligned)</a:t>
            </a:r>
          </a:p>
        </p:txBody>
      </p:sp>
      <p:grpSp>
        <p:nvGrpSpPr>
          <p:cNvPr id="66" name="LegendBoxes">
            <a:extLst>
              <a:ext uri="{FF2B5EF4-FFF2-40B4-BE49-F238E27FC236}">
                <a16:creationId xmlns:a16="http://schemas.microsoft.com/office/drawing/2014/main" id="{88B54CD5-5BD5-494F-9477-B9A08DCAAF8B}"/>
              </a:ext>
            </a:extLst>
          </p:cNvPr>
          <p:cNvGrpSpPr/>
          <p:nvPr/>
        </p:nvGrpSpPr>
        <p:grpSpPr>
          <a:xfrm>
            <a:off x="10714801" y="4055681"/>
            <a:ext cx="853663" cy="1717282"/>
            <a:chOff x="10652400" y="4322824"/>
            <a:chExt cx="853663" cy="1717282"/>
          </a:xfrm>
        </p:grpSpPr>
        <p:sp>
          <p:nvSpPr>
            <p:cNvPr id="67" name="RectangleLegend1">
              <a:extLst>
                <a:ext uri="{FF2B5EF4-FFF2-40B4-BE49-F238E27FC236}">
                  <a16:creationId xmlns:a16="http://schemas.microsoft.com/office/drawing/2014/main" id="{A5F8305E-D282-4960-A1DA-8B711AEDE07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68" name="RectangleLegend2">
              <a:extLst>
                <a:ext uri="{FF2B5EF4-FFF2-40B4-BE49-F238E27FC236}">
                  <a16:creationId xmlns:a16="http://schemas.microsoft.com/office/drawing/2014/main" id="{F7B36843-99BB-4086-9298-A5F93432D703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69" name="RectangleLegend3">
              <a:extLst>
                <a:ext uri="{FF2B5EF4-FFF2-40B4-BE49-F238E27FC236}">
                  <a16:creationId xmlns:a16="http://schemas.microsoft.com/office/drawing/2014/main" id="{37CDDFA4-C38F-4FE6-8389-C4D348B197B9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70" name="RectangleLegend4">
              <a:extLst>
                <a:ext uri="{FF2B5EF4-FFF2-40B4-BE49-F238E27FC236}">
                  <a16:creationId xmlns:a16="http://schemas.microsoft.com/office/drawing/2014/main" id="{0A39A58C-0280-4CFB-8D3D-1AF0560BB2C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71" name="RectangleLegend5">
              <a:extLst>
                <a:ext uri="{FF2B5EF4-FFF2-40B4-BE49-F238E27FC236}">
                  <a16:creationId xmlns:a16="http://schemas.microsoft.com/office/drawing/2014/main" id="{1CF3D168-DEA4-4946-B69D-52C5AD940E4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72" name="Legend1">
              <a:extLst>
                <a:ext uri="{FF2B5EF4-FFF2-40B4-BE49-F238E27FC236}">
                  <a16:creationId xmlns:a16="http://schemas.microsoft.com/office/drawing/2014/main" id="{95CEF16D-763B-4AAE-9CE2-C2AEAD7688BB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95ADC9CF-C31B-4FC8-A691-3AE2A7532DE5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74" name="Legend3">
              <a:extLst>
                <a:ext uri="{FF2B5EF4-FFF2-40B4-BE49-F238E27FC236}">
                  <a16:creationId xmlns:a16="http://schemas.microsoft.com/office/drawing/2014/main" id="{039943DE-09BB-4A81-8C3B-F39B6C6ECF8A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75" name="Legend4">
              <a:extLst>
                <a:ext uri="{FF2B5EF4-FFF2-40B4-BE49-F238E27FC236}">
                  <a16:creationId xmlns:a16="http://schemas.microsoft.com/office/drawing/2014/main" id="{69E64E7E-8B21-4325-AEB1-E4CDED9C8A9E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76" name="Legend5">
              <a:extLst>
                <a:ext uri="{FF2B5EF4-FFF2-40B4-BE49-F238E27FC236}">
                  <a16:creationId xmlns:a16="http://schemas.microsoft.com/office/drawing/2014/main" id="{F520E57C-4380-4565-8294-67FEA95B2F97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Legend</a:t>
              </a:r>
            </a:p>
          </p:txBody>
        </p:sp>
      </p:grpSp>
      <p:sp>
        <p:nvSpPr>
          <p:cNvPr id="77" name="4. Footnote">
            <a:extLst>
              <a:ext uri="{FF2B5EF4-FFF2-40B4-BE49-F238E27FC236}">
                <a16:creationId xmlns:a16="http://schemas.microsoft.com/office/drawing/2014/main" id="{1A5767A0-D7B7-4BA7-9636-FF2BE885204B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/>
          <a:p>
            <a:pPr marL="203200" marR="0" lvl="0" indent="-212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1.	Footnote (Arial 8 pt, plain bottom-aligned)</a:t>
            </a:r>
          </a:p>
        </p:txBody>
      </p:sp>
      <p:sp>
        <p:nvSpPr>
          <p:cNvPr id="79" name="Sticker">
            <a:extLst>
              <a:ext uri="{FF2B5EF4-FFF2-40B4-BE49-F238E27FC236}">
                <a16:creationId xmlns:a16="http://schemas.microsoft.com/office/drawing/2014/main" id="{D11BCD0A-4016-4832-889B-296F29547C34}"/>
              </a:ext>
            </a:extLst>
          </p:cNvPr>
          <p:cNvSpPr txBox="1"/>
          <p:nvPr/>
        </p:nvSpPr>
        <p:spPr>
          <a:xfrm>
            <a:off x="554736" y="1439884"/>
            <a:ext cx="267220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 dirty="0">
                <a:solidFill>
                  <a:schemeClr val="bg1"/>
                </a:solidFill>
              </a:rPr>
              <a:t>CUSTOM STICKER (Calibri 8 pt, bold all caps top-aligned)</a:t>
            </a:r>
          </a:p>
        </p:txBody>
      </p:sp>
      <p:sp>
        <p:nvSpPr>
          <p:cNvPr id="8" name="ACET">
            <a:extLst>
              <a:ext uri="{FF2B5EF4-FFF2-40B4-BE49-F238E27FC236}">
                <a16:creationId xmlns:a16="http://schemas.microsoft.com/office/drawing/2014/main" id="{640CF301-4A95-E7AB-E7FC-8D8C6FFACAA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5987738" y="2171700"/>
            <a:ext cx="3049253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chemeClr val="bg1"/>
                </a:solidFill>
              </a:rPr>
              <a:t>Above Chart Exhibit Title</a:t>
            </a:r>
          </a:p>
          <a:p>
            <a:pPr rtl="0">
              <a:spcBef>
                <a:spcPts val="0"/>
              </a:spcBef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Unit of Meas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8286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502D1BA-AE88-F868-B06D-6E5675F38E3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5703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23" imgH="424" progId="TCLayout.ActiveDocument.1">
                  <p:embed/>
                </p:oleObj>
              </mc:Choice>
              <mc:Fallback>
                <p:oleObj name="think-cell Slide" r:id="rId32" imgW="423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02D1BA-AE88-F868-B06D-6E5675F38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943301-37E1-76BE-366D-9830A6E272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esign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7A78C1-E804-1C62-D13F-BD8EA761F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en-US" dirty="0"/>
              <a:t>Graph styles</a:t>
            </a:r>
          </a:p>
        </p:txBody>
      </p:sp>
      <p:graphicFrame>
        <p:nvGraphicFramePr>
          <p:cNvPr id="79" name="Chart 78">
            <a:extLst>
              <a:ext uri="{FF2B5EF4-FFF2-40B4-BE49-F238E27FC236}">
                <a16:creationId xmlns:a16="http://schemas.microsoft.com/office/drawing/2014/main" id="{C6238669-16CB-6857-5B4D-B0C3CFD0F79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787553"/>
              </p:ext>
            </p:extLst>
          </p:nvPr>
        </p:nvGraphicFramePr>
        <p:xfrm>
          <a:off x="1081088" y="1701800"/>
          <a:ext cx="3152775" cy="3771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12775" y="2427288"/>
            <a:ext cx="433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26EB4613-F857-4CE6-8889-EE5171A2B421}" type="datetime'La''''b''''''''''''''e''''''''''''''''''''l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12775" y="3479800"/>
            <a:ext cx="433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BEA76A7D-F99F-4C62-AF49-DD20695F9840}" type="datetime'La''b''''''''e''''''l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12775" y="4533900"/>
            <a:ext cx="433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09C8F010-B6CE-454D-893E-89AA63CFA641}" type="datetime'L''''''''a''''''''''''b''''''''''''''''e''''''''''''''''''''l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573337" y="24272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9719E99-291E-4D31-896D-C9EDE0854D04}" type="datetime'''''''''2''''''''''''''''''''2'''''''''''''''''">
              <a:rPr lang="en-US" altLang="en-US" sz="1400" smtClean="0">
                <a:solidFill>
                  <a:schemeClr val="tx1"/>
                </a:solidFill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1400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3184524" y="34798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7CE34C6-2ED5-455E-8E21-BF51D5C7ACD4}" type="datetime'''''3''''''''''''''''''''''''''1'''">
              <a:rPr lang="en-US" altLang="en-US" sz="1400" smtClean="0">
                <a:solidFill>
                  <a:schemeClr val="tx1"/>
                </a:solidFill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US" sz="1400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4176713" y="45339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35798E1-4D5E-4B85-818B-5C2FE8F5B8B4}" type="datetime'''''''''''''''''''''''''''''''''''''''''4''''''''''''6'">
              <a:rPr lang="en-US" altLang="en-US" sz="1400" smtClean="0">
                <a:solidFill>
                  <a:schemeClr val="tx1"/>
                </a:solidFill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en-US" sz="1400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55C3236-9B69-A445-ED60-0BAF470898EE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163638" y="5356225"/>
            <a:ext cx="196850" cy="147638"/>
          </a:xfrm>
          <a:prstGeom prst="rect">
            <a:avLst/>
          </a:prstGeom>
          <a:solidFill>
            <a:schemeClr val="accent5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174639F-55D1-ED43-5B3F-6271E8FCE09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025650" y="5356225"/>
            <a:ext cx="196850" cy="147638"/>
          </a:xfrm>
          <a:prstGeom prst="rect">
            <a:avLst/>
          </a:prstGeom>
          <a:solidFill>
            <a:schemeClr val="accent2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1856302-E8B1-659C-5482-E4C9D709D76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887663" y="5356225"/>
            <a:ext cx="196850" cy="147638"/>
          </a:xfrm>
          <a:prstGeom prst="rect">
            <a:avLst/>
          </a:prstGeom>
          <a:solidFill>
            <a:schemeClr val="accent3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411288" y="5351463"/>
            <a:ext cx="5127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4C55AA9-F8B6-4837-B098-F916578083EB}" type="datetime'''''''''''Se''''''''''r''i''''e''s'''''''''''''''''' ''1'''">
              <a:rPr lang="en-US" altLang="en-US" sz="1100" smtClean="0">
                <a:solidFill>
                  <a:schemeClr val="bg1"/>
                </a:solidFill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eries 1</a:t>
            </a:fld>
            <a:endParaRPr lang="en-US" sz="11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273300" y="5351463"/>
            <a:ext cx="5127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9A31C98-48F0-49B8-803E-AF0FDE2461B9}" type="datetime'S''''''''''''''e''''''''r''''''''ie''''s'''''''' ''''2'''">
              <a:rPr lang="en-US" altLang="en-US" sz="1100" smtClean="0">
                <a:solidFill>
                  <a:schemeClr val="bg1"/>
                </a:solidFill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eries 2</a:t>
            </a:fld>
            <a:endParaRPr lang="en-US" sz="11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135313" y="5351463"/>
            <a:ext cx="5127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17F9E09-5813-4172-B52A-A2FB29A1DDD0}" type="datetime'S''''''e''''''''''r''''''''''''ie''''s'''''''''''''' 3'''">
              <a:rPr lang="en-US" altLang="en-US" sz="1100" smtClean="0">
                <a:solidFill>
                  <a:schemeClr val="bg1"/>
                </a:solidFill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eries 3</a:t>
            </a:fld>
            <a:endParaRPr lang="en-US" sz="11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8" name="Rectangle: Diagonal Corners Rounded 27">
            <a:extLst>
              <a:ext uri="{FF2B5EF4-FFF2-40B4-BE49-F238E27FC236}">
                <a16:creationId xmlns:a16="http://schemas.microsoft.com/office/drawing/2014/main" id="{89D3AEDC-9788-8D6B-E48E-9A869D30668A}"/>
              </a:ext>
            </a:extLst>
          </p:cNvPr>
          <p:cNvSpPr/>
          <p:nvPr/>
        </p:nvSpPr>
        <p:spPr>
          <a:xfrm>
            <a:off x="554038" y="1695450"/>
            <a:ext cx="4058155" cy="408601"/>
          </a:xfrm>
          <a:prstGeom prst="round2DiagRect">
            <a:avLst>
              <a:gd name="adj1" fmla="val 0"/>
              <a:gd name="adj2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 dirty="0">
                <a:solidFill>
                  <a:schemeClr val="bg1"/>
                </a:solidFill>
              </a:rPr>
              <a:t>Title, </a:t>
            </a:r>
            <a:r>
              <a:rPr lang="en-US" sz="1600" dirty="0">
                <a:solidFill>
                  <a:schemeClr val="bg1"/>
                </a:solidFill>
              </a:rPr>
              <a:t>unit</a:t>
            </a:r>
          </a:p>
        </p:txBody>
      </p:sp>
      <p:sp>
        <p:nvSpPr>
          <p:cNvPr id="32" name="Rectangle: Diagonal Corners Rounded 31">
            <a:extLst>
              <a:ext uri="{FF2B5EF4-FFF2-40B4-BE49-F238E27FC236}">
                <a16:creationId xmlns:a16="http://schemas.microsoft.com/office/drawing/2014/main" id="{17E411CE-6D66-7437-37BE-7C0CB39B9FE1}"/>
              </a:ext>
            </a:extLst>
          </p:cNvPr>
          <p:cNvSpPr/>
          <p:nvPr/>
        </p:nvSpPr>
        <p:spPr>
          <a:xfrm>
            <a:off x="4632326" y="1695450"/>
            <a:ext cx="3668712" cy="408601"/>
          </a:xfrm>
          <a:prstGeom prst="round2DiagRect">
            <a:avLst>
              <a:gd name="adj1" fmla="val 0"/>
              <a:gd name="adj2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 dirty="0">
                <a:solidFill>
                  <a:schemeClr val="bg1"/>
                </a:solidFill>
              </a:rPr>
              <a:t>Title, </a:t>
            </a:r>
            <a:r>
              <a:rPr lang="en-US" sz="1600" dirty="0">
                <a:solidFill>
                  <a:schemeClr val="bg1"/>
                </a:solidFill>
              </a:rPr>
              <a:t>unit</a:t>
            </a:r>
          </a:p>
        </p:txBody>
      </p:sp>
      <p:graphicFrame>
        <p:nvGraphicFramePr>
          <p:cNvPr id="72" name="Chart 71">
            <a:extLst>
              <a:ext uri="{FF2B5EF4-FFF2-40B4-BE49-F238E27FC236}">
                <a16:creationId xmlns:a16="http://schemas.microsoft.com/office/drawing/2014/main" id="{DDA44E66-25AD-69DA-C5C3-F564E2C79D65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86225507"/>
              </p:ext>
            </p:extLst>
          </p:nvPr>
        </p:nvGraphicFramePr>
        <p:xfrm>
          <a:off x="4743450" y="1920875"/>
          <a:ext cx="3419475" cy="3354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A35BA7D-DEA0-1B3A-1EEE-E1071A92E62D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567363" y="5356225"/>
            <a:ext cx="214313" cy="160338"/>
          </a:xfrm>
          <a:prstGeom prst="rect">
            <a:avLst/>
          </a:prstGeom>
          <a:solidFill>
            <a:schemeClr val="accent6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7442065-F8E6-44B3-5D42-0CAA01F08F3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567363" y="5589588"/>
            <a:ext cx="214313" cy="160338"/>
          </a:xfrm>
          <a:prstGeom prst="rect">
            <a:avLst/>
          </a:prstGeom>
          <a:solidFill>
            <a:schemeClr val="accent2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565D26-6677-D033-BDB5-9A879B7673CC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491288" y="5356225"/>
            <a:ext cx="214313" cy="160338"/>
          </a:xfrm>
          <a:prstGeom prst="rect">
            <a:avLst/>
          </a:prstGeom>
          <a:solidFill>
            <a:schemeClr val="accent3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36C0A73-1406-BFFB-CC4E-CB364A75CDE0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491288" y="5589588"/>
            <a:ext cx="214313" cy="160338"/>
          </a:xfrm>
          <a:prstGeom prst="rect">
            <a:avLst/>
          </a:prstGeom>
          <a:solidFill>
            <a:schemeClr val="accent5"/>
          </a:solidFill>
          <a:ln w="9525" cap="sq" cmpd="sng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5832475" y="5351463"/>
            <a:ext cx="557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C13F7A6-6CEF-4CBC-940D-C04835A35308}" type="datetime'Se''''''''''''r''''''''''i''''es ''''''1'''''''''''''''">
              <a:rPr lang="en-US" altLang="en-US" sz="1200" smtClean="0">
                <a:solidFill>
                  <a:schemeClr val="bg1"/>
                </a:solidFill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eries 1</a:t>
            </a:fld>
            <a:endParaRPr lang="en-US" sz="12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5832475" y="5584825"/>
            <a:ext cx="557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48D914F-9ED6-4440-8FC5-591A7528CE83}" type="datetime'''''''''''S''''''''e''rie''''''s'''''''' ''2'''''">
              <a:rPr lang="en-US" altLang="en-US" sz="1200" smtClean="0">
                <a:solidFill>
                  <a:schemeClr val="bg1"/>
                </a:solidFill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eries 2</a:t>
            </a:fld>
            <a:endParaRPr lang="en-US" sz="12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6756400" y="5351463"/>
            <a:ext cx="557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12E653B-F152-45B1-BAF1-BC57BEC8FA46}" type="datetime'S''''''''er''''''''''''''''''i''es'''''''''''''''''' ''3'''''">
              <a:rPr lang="en-US" altLang="en-US" sz="1200" smtClean="0">
                <a:solidFill>
                  <a:schemeClr val="bg1"/>
                </a:solidFill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eries 3</a:t>
            </a:fld>
            <a:endParaRPr lang="en-US" sz="12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7CB579A-5F94-436D-1609-743F0358BF11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6756400" y="5584825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F058F65-726D-498E-9298-830F6D84A9FA}" type="datetime'S''''''e''r''''''''''''''i''''''e''''''''''s'''''">
              <a:rPr lang="en-US" altLang="en-US" sz="1200" smtClean="0">
                <a:solidFill>
                  <a:schemeClr val="bg1"/>
                </a:solidFill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200" dirty="0">
              <a:solidFill>
                <a:schemeClr val="bg1"/>
              </a:solidFill>
              <a:cs typeface="+mn-cs"/>
            </a:endParaRPr>
          </a:p>
        </p:txBody>
      </p:sp>
      <p:graphicFrame>
        <p:nvGraphicFramePr>
          <p:cNvPr id="74" name="Chart 73">
            <a:extLst>
              <a:ext uri="{FF2B5EF4-FFF2-40B4-BE49-F238E27FC236}">
                <a16:creationId xmlns:a16="http://schemas.microsoft.com/office/drawing/2014/main" id="{51B52438-A8A1-0541-FD8F-C8A62FC846ED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31121035"/>
              </p:ext>
            </p:extLst>
          </p:nvPr>
        </p:nvGraphicFramePr>
        <p:xfrm>
          <a:off x="8150225" y="2038350"/>
          <a:ext cx="3686175" cy="345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2DB8F885-ACE6-77F9-3972-17C39918919B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8713788" y="5715000"/>
            <a:ext cx="188913" cy="0"/>
          </a:xfrm>
          <a:prstGeom prst="line">
            <a:avLst/>
          </a:prstGeom>
          <a:ln w="2540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D581ABAE-B382-5C65-A300-D66AE76DEA4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9637713" y="5715000"/>
            <a:ext cx="188913" cy="0"/>
          </a:xfrm>
          <a:prstGeom prst="line">
            <a:avLst/>
          </a:prstGeom>
          <a:ln w="2540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BCEE8739-CA64-EE4B-BD2A-BD5362C65C07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10561638" y="5715000"/>
            <a:ext cx="188913" cy="0"/>
          </a:xfrm>
          <a:prstGeom prst="line">
            <a:avLst/>
          </a:prstGeom>
          <a:ln w="2540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8966200" y="5630863"/>
            <a:ext cx="557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ABDCE9E-BA8B-462B-B75D-6C8FBC9DE384}" type="datetime'''''''''''''''''''Seri''e''''s'''''''''' ''''''1'">
              <a:rPr lang="en-US" altLang="en-US" sz="1200" smtClean="0">
                <a:solidFill>
                  <a:schemeClr val="bg1"/>
                </a:solidFill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eries 1</a:t>
            </a:fld>
            <a:endParaRPr lang="en-US" sz="12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9890125" y="5630863"/>
            <a:ext cx="557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8B6B2C6-CAD4-4F47-9D02-B4E4B3688924}" type="datetime'''S''''''''e''''r''''''''''i''''e''''''''''s 2'''''''''''">
              <a:rPr lang="en-US" altLang="en-US" sz="1200" smtClean="0">
                <a:solidFill>
                  <a:schemeClr val="bg1"/>
                </a:solidFill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eries 2</a:t>
            </a:fld>
            <a:endParaRPr lang="en-US" sz="12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A2C4508E-6B88-7921-6981-09799D478ED1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10814050" y="5630863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CD67B6A-F174-4045-A630-90A64C8D7C8B}" type="datetime'S''''''''''er''''''''''''''''''''ie''''''''''''''''''''s'''">
              <a:rPr lang="en-US" altLang="en-US" sz="1200" smtClean="0">
                <a:solidFill>
                  <a:schemeClr val="bg1"/>
                </a:solidFill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2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94" name="Rectangle: Diagonal Corners Rounded 93">
            <a:extLst>
              <a:ext uri="{FF2B5EF4-FFF2-40B4-BE49-F238E27FC236}">
                <a16:creationId xmlns:a16="http://schemas.microsoft.com/office/drawing/2014/main" id="{6381C36B-EBE8-FC20-F70E-552F5CA23EA8}"/>
              </a:ext>
            </a:extLst>
          </p:cNvPr>
          <p:cNvSpPr/>
          <p:nvPr/>
        </p:nvSpPr>
        <p:spPr>
          <a:xfrm>
            <a:off x="8321171" y="1695450"/>
            <a:ext cx="3316093" cy="408601"/>
          </a:xfrm>
          <a:prstGeom prst="round2DiagRect">
            <a:avLst>
              <a:gd name="adj1" fmla="val 0"/>
              <a:gd name="adj2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 dirty="0">
                <a:solidFill>
                  <a:schemeClr val="bg1"/>
                </a:solidFill>
              </a:rPr>
              <a:t>Title, </a:t>
            </a:r>
            <a:r>
              <a:rPr lang="en-US" sz="1600" dirty="0">
                <a:solidFill>
                  <a:schemeClr val="bg1"/>
                </a:solidFill>
              </a:rPr>
              <a:t>unit</a:t>
            </a:r>
          </a:p>
        </p:txBody>
      </p:sp>
    </p:spTree>
    <p:extLst>
      <p:ext uri="{BB962C8B-B14F-4D97-AF65-F5344CB8AC3E}">
        <p14:creationId xmlns:p14="http://schemas.microsoft.com/office/powerpoint/2010/main" val="3231684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4DF607-DB08-768E-12EB-F072DF40A4D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0049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3" imgH="424" progId="TCLayout.ActiveDocument.1">
                  <p:embed/>
                </p:oleObj>
              </mc:Choice>
              <mc:Fallback>
                <p:oleObj name="think-cell Slide" r:id="rId3" imgW="423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4DF607-DB08-768E-12EB-F072DF40A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4F2758C-0E7F-4124-4226-3CD2D5E3D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26143C2-37EE-89D9-5AEF-639D9E0CA5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A5D682-FD96-7AD2-F571-E35FC0D27E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Google Shape;262;p30">
            <a:extLst>
              <a:ext uri="{FF2B5EF4-FFF2-40B4-BE49-F238E27FC236}">
                <a16:creationId xmlns:a16="http://schemas.microsoft.com/office/drawing/2014/main" id="{C140E896-F24B-23A0-6CFF-26543B6D6223}"/>
              </a:ext>
            </a:extLst>
          </p:cNvPr>
          <p:cNvSpPr txBox="1"/>
          <p:nvPr/>
        </p:nvSpPr>
        <p:spPr>
          <a:xfrm>
            <a:off x="4099034" y="1955532"/>
            <a:ext cx="7538231" cy="2000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bg1"/>
                </a:solidFill>
                <a:cs typeface="Calibri"/>
                <a:sym typeface="Arial"/>
              </a:rPr>
              <a:t>Header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lang="en-US" sz="1600" b="1" dirty="0">
              <a:solidFill>
                <a:schemeClr val="bg1"/>
              </a:solidFill>
              <a:cs typeface="Calibri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NZ" sz="1600" dirty="0">
                <a:solidFill>
                  <a:schemeClr val="bg1"/>
                </a:solidFill>
                <a:cs typeface="Calibri"/>
              </a:rPr>
              <a:t>Lorem ipsum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ol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si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me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nsectet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dipiscing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se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do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iusmo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temp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incididu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labore et dolore magna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liqu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U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ni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ad minim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enia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quis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nostru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xercitatio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llamco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laboris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nisi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liquip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x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mmodo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nsequ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Duis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ut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irur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ol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reprehender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oluptat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e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sse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illu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dolore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u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fugi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null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pariat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xcepte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si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occaec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upidat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no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proide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sunt in culpa qui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offici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eseru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mol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ni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d es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laboru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</a:t>
            </a:r>
            <a:endParaRPr sz="1600" dirty="0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66435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545848-290E-6B3E-3FD3-085D293260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21FA25A-F824-B47B-ECA2-B65B4967ABC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3" imgH="424" progId="TCLayout.ActiveDocument.1">
                  <p:embed/>
                </p:oleObj>
              </mc:Choice>
              <mc:Fallback>
                <p:oleObj name="think-cell Slide" r:id="rId3" imgW="423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1FA25A-F824-B47B-ECA2-B65B4967A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40C3C17-01CD-809A-4BF4-E64A0C8D1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6EF6024-2738-3886-AD40-865D41706B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1FDC4E6-632E-939E-C7D4-FB2F7680D3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Google Shape;262;p30">
            <a:extLst>
              <a:ext uri="{FF2B5EF4-FFF2-40B4-BE49-F238E27FC236}">
                <a16:creationId xmlns:a16="http://schemas.microsoft.com/office/drawing/2014/main" id="{21C7E3DC-BE85-209F-4706-3384FA38666D}"/>
              </a:ext>
            </a:extLst>
          </p:cNvPr>
          <p:cNvSpPr txBox="1"/>
          <p:nvPr/>
        </p:nvSpPr>
        <p:spPr>
          <a:xfrm>
            <a:off x="4099034" y="1955532"/>
            <a:ext cx="7538231" cy="2000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cs typeface="Calibri"/>
                <a:sym typeface="Arial"/>
              </a:rPr>
              <a:t>Header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lang="en-US" sz="1600" b="1" dirty="0">
              <a:cs typeface="Calibri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NZ" sz="1600" dirty="0">
                <a:cs typeface="Calibri"/>
              </a:rPr>
              <a:t>Lorem ipsum </a:t>
            </a:r>
            <a:r>
              <a:rPr lang="en-NZ" sz="1600" dirty="0" err="1">
                <a:cs typeface="Calibri"/>
              </a:rPr>
              <a:t>dolor</a:t>
            </a:r>
            <a:r>
              <a:rPr lang="en-NZ" sz="1600" dirty="0">
                <a:cs typeface="Calibri"/>
              </a:rPr>
              <a:t> sit </a:t>
            </a:r>
            <a:r>
              <a:rPr lang="en-NZ" sz="1600" dirty="0" err="1">
                <a:cs typeface="Calibri"/>
              </a:rPr>
              <a:t>amet</a:t>
            </a:r>
            <a:r>
              <a:rPr lang="en-NZ" sz="1600" dirty="0">
                <a:cs typeface="Calibri"/>
              </a:rPr>
              <a:t>, </a:t>
            </a:r>
            <a:r>
              <a:rPr lang="en-NZ" sz="1600" dirty="0" err="1">
                <a:cs typeface="Calibri"/>
              </a:rPr>
              <a:t>consectetur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adipiscing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elit</a:t>
            </a:r>
            <a:r>
              <a:rPr lang="en-NZ" sz="1600" dirty="0">
                <a:cs typeface="Calibri"/>
              </a:rPr>
              <a:t>, </a:t>
            </a:r>
            <a:r>
              <a:rPr lang="en-NZ" sz="1600" dirty="0" err="1">
                <a:cs typeface="Calibri"/>
              </a:rPr>
              <a:t>sed</a:t>
            </a:r>
            <a:r>
              <a:rPr lang="en-NZ" sz="1600" dirty="0">
                <a:cs typeface="Calibri"/>
              </a:rPr>
              <a:t> do </a:t>
            </a:r>
            <a:r>
              <a:rPr lang="en-NZ" sz="1600" dirty="0" err="1">
                <a:cs typeface="Calibri"/>
              </a:rPr>
              <a:t>eiusmod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tempor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incididun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ut</a:t>
            </a:r>
            <a:r>
              <a:rPr lang="en-NZ" sz="1600" dirty="0">
                <a:cs typeface="Calibri"/>
              </a:rPr>
              <a:t> labore et dolore magna </a:t>
            </a:r>
            <a:r>
              <a:rPr lang="en-NZ" sz="1600" dirty="0" err="1">
                <a:cs typeface="Calibri"/>
              </a:rPr>
              <a:t>aliqua</a:t>
            </a:r>
            <a:r>
              <a:rPr lang="en-NZ" sz="1600" dirty="0">
                <a:cs typeface="Calibri"/>
              </a:rPr>
              <a:t>. Ut </a:t>
            </a:r>
            <a:r>
              <a:rPr lang="en-NZ" sz="1600" dirty="0" err="1">
                <a:cs typeface="Calibri"/>
              </a:rPr>
              <a:t>enim</a:t>
            </a:r>
            <a:r>
              <a:rPr lang="en-NZ" sz="1600" dirty="0">
                <a:cs typeface="Calibri"/>
              </a:rPr>
              <a:t> ad minim </a:t>
            </a:r>
            <a:r>
              <a:rPr lang="en-NZ" sz="1600" dirty="0" err="1">
                <a:cs typeface="Calibri"/>
              </a:rPr>
              <a:t>veniam</a:t>
            </a:r>
            <a:r>
              <a:rPr lang="en-NZ" sz="1600" dirty="0">
                <a:cs typeface="Calibri"/>
              </a:rPr>
              <a:t>, </a:t>
            </a:r>
            <a:r>
              <a:rPr lang="en-NZ" sz="1600" dirty="0" err="1">
                <a:cs typeface="Calibri"/>
              </a:rPr>
              <a:t>quis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nostrud</a:t>
            </a:r>
            <a:r>
              <a:rPr lang="en-NZ" sz="1600" dirty="0">
                <a:cs typeface="Calibri"/>
              </a:rPr>
              <a:t> exercitation </a:t>
            </a:r>
            <a:r>
              <a:rPr lang="en-NZ" sz="1600" dirty="0" err="1">
                <a:cs typeface="Calibri"/>
              </a:rPr>
              <a:t>ullamco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laboris</a:t>
            </a:r>
            <a:r>
              <a:rPr lang="en-NZ" sz="1600" dirty="0">
                <a:cs typeface="Calibri"/>
              </a:rPr>
              <a:t> nisi </a:t>
            </a:r>
            <a:r>
              <a:rPr lang="en-NZ" sz="1600" dirty="0" err="1">
                <a:cs typeface="Calibri"/>
              </a:rPr>
              <a:t>u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aliquip</a:t>
            </a:r>
            <a:r>
              <a:rPr lang="en-NZ" sz="1600" dirty="0">
                <a:cs typeface="Calibri"/>
              </a:rPr>
              <a:t> ex </a:t>
            </a:r>
            <a:r>
              <a:rPr lang="en-NZ" sz="1600" dirty="0" err="1">
                <a:cs typeface="Calibri"/>
              </a:rPr>
              <a:t>ea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commodo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consequat</a:t>
            </a:r>
            <a:r>
              <a:rPr lang="en-NZ" sz="1600" dirty="0">
                <a:cs typeface="Calibri"/>
              </a:rPr>
              <a:t>. Duis </a:t>
            </a:r>
            <a:r>
              <a:rPr lang="en-NZ" sz="1600" dirty="0" err="1">
                <a:cs typeface="Calibri"/>
              </a:rPr>
              <a:t>aute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irure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dolor</a:t>
            </a:r>
            <a:r>
              <a:rPr lang="en-NZ" sz="1600" dirty="0">
                <a:cs typeface="Calibri"/>
              </a:rPr>
              <a:t> in </a:t>
            </a:r>
            <a:r>
              <a:rPr lang="en-NZ" sz="1600" dirty="0" err="1">
                <a:cs typeface="Calibri"/>
              </a:rPr>
              <a:t>reprehenderit</a:t>
            </a:r>
            <a:r>
              <a:rPr lang="en-NZ" sz="1600" dirty="0">
                <a:cs typeface="Calibri"/>
              </a:rPr>
              <a:t> in </a:t>
            </a:r>
            <a:r>
              <a:rPr lang="en-NZ" sz="1600" dirty="0" err="1">
                <a:cs typeface="Calibri"/>
              </a:rPr>
              <a:t>voluptate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velit</a:t>
            </a:r>
            <a:r>
              <a:rPr lang="en-NZ" sz="1600" dirty="0">
                <a:cs typeface="Calibri"/>
              </a:rPr>
              <a:t> esse </a:t>
            </a:r>
            <a:r>
              <a:rPr lang="en-NZ" sz="1600" dirty="0" err="1">
                <a:cs typeface="Calibri"/>
              </a:rPr>
              <a:t>cillum</a:t>
            </a:r>
            <a:r>
              <a:rPr lang="en-NZ" sz="1600" dirty="0">
                <a:cs typeface="Calibri"/>
              </a:rPr>
              <a:t> dolore </a:t>
            </a:r>
            <a:r>
              <a:rPr lang="en-NZ" sz="1600" dirty="0" err="1">
                <a:cs typeface="Calibri"/>
              </a:rPr>
              <a:t>eu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fugia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nulla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pariatur</a:t>
            </a:r>
            <a:r>
              <a:rPr lang="en-NZ" sz="1600" dirty="0">
                <a:cs typeface="Calibri"/>
              </a:rPr>
              <a:t>. </a:t>
            </a:r>
            <a:r>
              <a:rPr lang="en-NZ" sz="1600" dirty="0" err="1">
                <a:cs typeface="Calibri"/>
              </a:rPr>
              <a:t>Excepteur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sin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occaeca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cupidatat</a:t>
            </a:r>
            <a:r>
              <a:rPr lang="en-NZ" sz="1600" dirty="0">
                <a:cs typeface="Calibri"/>
              </a:rPr>
              <a:t> non </a:t>
            </a:r>
            <a:r>
              <a:rPr lang="en-NZ" sz="1600" dirty="0" err="1">
                <a:cs typeface="Calibri"/>
              </a:rPr>
              <a:t>proident</a:t>
            </a:r>
            <a:r>
              <a:rPr lang="en-NZ" sz="1600" dirty="0">
                <a:cs typeface="Calibri"/>
              </a:rPr>
              <a:t>, sunt in culpa qui </a:t>
            </a:r>
            <a:r>
              <a:rPr lang="en-NZ" sz="1600" dirty="0" err="1">
                <a:cs typeface="Calibri"/>
              </a:rPr>
              <a:t>officia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deserun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mollit</a:t>
            </a:r>
            <a:r>
              <a:rPr lang="en-NZ" sz="1600" dirty="0">
                <a:cs typeface="Calibri"/>
              </a:rPr>
              <a:t> </a:t>
            </a:r>
            <a:r>
              <a:rPr lang="en-NZ" sz="1600" dirty="0" err="1">
                <a:cs typeface="Calibri"/>
              </a:rPr>
              <a:t>anim</a:t>
            </a:r>
            <a:r>
              <a:rPr lang="en-NZ" sz="1600" dirty="0">
                <a:cs typeface="Calibri"/>
              </a:rPr>
              <a:t> id est </a:t>
            </a:r>
            <a:r>
              <a:rPr lang="en-NZ" sz="1600" dirty="0" err="1">
                <a:cs typeface="Calibri"/>
              </a:rPr>
              <a:t>laborum</a:t>
            </a:r>
            <a:r>
              <a:rPr lang="en-NZ" sz="1600" dirty="0">
                <a:cs typeface="Calibri"/>
              </a:rPr>
              <a:t>.</a:t>
            </a:r>
            <a:endParaRPr sz="16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823032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6F3684E-9462-D48D-04B3-C93C53DFDBB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3374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3" imgH="424" progId="TCLayout.ActiveDocument.1">
                  <p:embed/>
                </p:oleObj>
              </mc:Choice>
              <mc:Fallback>
                <p:oleObj name="think-cell Slide" r:id="rId3" imgW="423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F3684E-9462-D48D-04B3-C93C53DFDB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41ACFA5E-F215-202F-54DB-12FE220D2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E6F77A2C-CEBA-590F-D1C7-F95C8F4353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D6AD54-2C00-1715-134A-331E36F92D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8232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7DD15A6-16A2-68F9-8BCC-211E1DB279E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801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3" imgH="424" progId="TCLayout.ActiveDocument.1">
                  <p:embed/>
                </p:oleObj>
              </mc:Choice>
              <mc:Fallback>
                <p:oleObj name="think-cell Slide" r:id="rId3" imgW="423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DD15A6-16A2-68F9-8BCC-211E1DB279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6BD010FE-2E32-CC6E-17E6-2CFF613008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D347476-48F3-5556-5CE1-DE1C7E6233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D65797A-2E4E-2775-62B2-9D1C04554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Google Shape;262;p30">
            <a:extLst>
              <a:ext uri="{FF2B5EF4-FFF2-40B4-BE49-F238E27FC236}">
                <a16:creationId xmlns:a16="http://schemas.microsoft.com/office/drawing/2014/main" id="{45FFB1F2-4EA6-16BA-B49D-11C876D272F4}"/>
              </a:ext>
            </a:extLst>
          </p:cNvPr>
          <p:cNvSpPr txBox="1"/>
          <p:nvPr/>
        </p:nvSpPr>
        <p:spPr>
          <a:xfrm>
            <a:off x="554736" y="1955532"/>
            <a:ext cx="11080052" cy="150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bg1"/>
                </a:solidFill>
                <a:cs typeface="Calibri"/>
                <a:sym typeface="Arial"/>
              </a:rPr>
              <a:t>Header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lang="en-US" sz="1600" b="1" dirty="0">
              <a:solidFill>
                <a:schemeClr val="bg1"/>
              </a:solidFill>
              <a:cs typeface="Calibri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NZ" sz="1600" dirty="0">
                <a:solidFill>
                  <a:schemeClr val="bg1"/>
                </a:solidFill>
                <a:cs typeface="Calibri"/>
              </a:rPr>
              <a:t>Lorem ipsum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ol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si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me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nsectet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dipiscing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se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do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iusmo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temp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incididu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labore et dolore magna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liqu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U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ni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ad minim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enia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quis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nostru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xercitatio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llamco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laboris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nisi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liquip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x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mmodo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nsequ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Duis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ut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irur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ol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reprehender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oluptat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e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sse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illu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dolore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u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fugi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null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pariat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xcepte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si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occaec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upidat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no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proide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sunt in culpa qui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offici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eseru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mol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ni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d es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laboru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</a:t>
            </a:r>
            <a:endParaRPr sz="1600" dirty="0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999519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E2F397-BA24-EDF5-F491-B6D2F09318C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8188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3" imgH="424" progId="TCLayout.ActiveDocument.1">
                  <p:embed/>
                </p:oleObj>
              </mc:Choice>
              <mc:Fallback>
                <p:oleObj name="think-cell Slide" r:id="rId3" imgW="423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E2F397-BA24-EDF5-F491-B6D2F09318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2032DE0-4B3E-B198-516C-827061D677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3621BD56-1B3C-7753-3253-063AB48A23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9D98717-4E18-BB91-BEA0-6846A771E9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Google Shape;262;p30">
            <a:extLst>
              <a:ext uri="{FF2B5EF4-FFF2-40B4-BE49-F238E27FC236}">
                <a16:creationId xmlns:a16="http://schemas.microsoft.com/office/drawing/2014/main" id="{F168D7D8-4DB9-E2C5-DD6C-5C942E1B79E0}"/>
              </a:ext>
            </a:extLst>
          </p:cNvPr>
          <p:cNvSpPr txBox="1"/>
          <p:nvPr/>
        </p:nvSpPr>
        <p:spPr>
          <a:xfrm>
            <a:off x="554736" y="1955532"/>
            <a:ext cx="11080052" cy="150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bg1"/>
                </a:solidFill>
                <a:cs typeface="Calibri"/>
                <a:sym typeface="Arial"/>
              </a:rPr>
              <a:t>Header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lang="en-US" sz="1600" b="1" dirty="0">
              <a:solidFill>
                <a:schemeClr val="bg1"/>
              </a:solidFill>
              <a:cs typeface="Calibri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NZ" sz="1600" dirty="0">
                <a:solidFill>
                  <a:schemeClr val="bg1"/>
                </a:solidFill>
                <a:cs typeface="Calibri"/>
              </a:rPr>
              <a:t>Lorem ipsum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ol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si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me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nsectet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dipiscing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se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do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iusmo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temp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incididu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labore et dolore magna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liqu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U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ni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ad minim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enia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quis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nostrud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xercitatio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llamco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laboris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nisi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u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liquip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x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mmodo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onsequ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Duis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ut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irur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olo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reprehender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oluptate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ve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esse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illu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dolore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u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fugi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null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pariat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Excepteur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si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occaec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cupidata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non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proide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, sunt in culpa qui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officia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deserun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mollit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ani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 id est </a:t>
            </a:r>
            <a:r>
              <a:rPr lang="en-NZ" sz="1600" dirty="0" err="1">
                <a:solidFill>
                  <a:schemeClr val="bg1"/>
                </a:solidFill>
                <a:cs typeface="Calibri"/>
              </a:rPr>
              <a:t>laborum</a:t>
            </a:r>
            <a:r>
              <a:rPr lang="en-NZ" sz="1600" dirty="0">
                <a:solidFill>
                  <a:schemeClr val="bg1"/>
                </a:solidFill>
                <a:cs typeface="Calibri"/>
              </a:rPr>
              <a:t>.</a:t>
            </a:r>
            <a:endParaRPr sz="1600" dirty="0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2204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32687&quot;&gt;&lt;version val=&quot;38576&quot;/&gt;&lt;CPresentation id=&quot;1&quot;&gt;&lt;m_precDefaultOrdinal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Ordinal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FF&quot; g=&quot;FF&quot; b=&quot;FF&quot;/&gt;&lt;/elem&gt;&lt;/m_vecMRU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ypeAndColorWhi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7ua5fVX8B9xpamDSGSJ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Yt16.CQfwuE7I_yOSoI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8Est6d4GiaLx2k6_FMZ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2gO5rPrUH7r8TZukOmO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tpjOC76adD0Ujf4n5ek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pgMD9.u7o4xvsilOFt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2rq8fqLNXS7RHJyN4ae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BW9IGHlnabMbXrEHhyp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3ApWWdrruHU1EeSK5KO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AO5SQJwhiY2bdzpSzGL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P_SWtMxSub2WB5wNmOn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4QxdTMyoQ97Qfyd3On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My31Jw36kzbAoqzLhPE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t3Z4IZIj.QTpF4NN_Oq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hHseS9jN0GIqRL6yTS.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Z54sY1P5lNL_UrAeRe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J2gNzcZvmI8ssHFXv05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CYUc2DFvStj13hMQDJv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Zm29NT56bmppZp0H9ke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Ajb05hrkc729jHpxPY.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8BuzuT0CVh3mpQcQIik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.aDuK1yCcwJ1HXg.PN8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U_vWpbcpwdu2BnLFwE5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8MjSCeRJRsf16gBgpaN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MKv_1NTHQJ9QPyer4MV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J0XJmi3RjoyhXlATgF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KioWaYv6TJ_j55NF5D_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iHZ61Rud.uf2HFFrdIC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VsrlRli55.9rG546JPq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ubbUYY1ASAjY6.5y2Cu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1_White">
  <a:themeElements>
    <a:clrScheme name="Custom 37">
      <a:dk1>
        <a:srgbClr val="000000"/>
      </a:dk1>
      <a:lt1>
        <a:srgbClr val="FFFFFF"/>
      </a:lt1>
      <a:dk2>
        <a:srgbClr val="301302"/>
      </a:dk2>
      <a:lt2>
        <a:srgbClr val="FFFFFF"/>
      </a:lt2>
      <a:accent1>
        <a:srgbClr val="301302"/>
      </a:accent1>
      <a:accent2>
        <a:srgbClr val="27514C"/>
      </a:accent2>
      <a:accent3>
        <a:srgbClr val="FEFEFE"/>
      </a:accent3>
      <a:accent4>
        <a:srgbClr val="AEABAB"/>
      </a:accent4>
      <a:accent5>
        <a:srgbClr val="D2691E"/>
      </a:accent5>
      <a:accent6>
        <a:srgbClr val="922B21"/>
      </a:accent6>
      <a:hlink>
        <a:srgbClr val="0563C1"/>
      </a:hlink>
      <a:folHlink>
        <a:srgbClr val="954F72"/>
      </a:folHlink>
    </a:clrScheme>
    <a:fontScheme name="Baobab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7D53"/>
        </a:accent1>
        <a:accent2>
          <a:srgbClr val="043E2A"/>
        </a:accent2>
        <a:accent3>
          <a:srgbClr val="098611"/>
        </a:accent3>
        <a:accent4>
          <a:srgbClr val="A3FFB9"/>
        </a:accent4>
        <a:accent5>
          <a:srgbClr val="808080"/>
        </a:accent5>
        <a:accent6>
          <a:srgbClr val="E2AA2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Baobab PPT template_Creative Touch_LL" id="{C1EF5CAC-D718-4C61-B2A6-9E8B6BE02D50}" vid="{40CCC367-1057-494E-B463-3F80E6C7DC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aobab PPT template_Creative Touch_LL</Template>
  <TotalTime>66</TotalTime>
  <Words>776</Words>
  <Application>Microsoft Office PowerPoint</Application>
  <PresentationFormat>Widescreen</PresentationFormat>
  <Paragraphs>87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ptos</vt:lpstr>
      <vt:lpstr>Arial</vt:lpstr>
      <vt:lpstr>Arial Black</vt:lpstr>
      <vt:lpstr>Calibri</vt:lpstr>
      <vt:lpstr>Segoe UI</vt:lpstr>
      <vt:lpstr>Wingdings</vt:lpstr>
      <vt:lpstr>1_White</vt:lpstr>
      <vt:lpstr>think-cell Slide</vt:lpstr>
      <vt:lpstr>Title</vt:lpstr>
      <vt:lpstr>Title</vt:lpstr>
      <vt:lpstr>1: Message Title (Arial Black 25 pt, bottom-aligned)</vt:lpstr>
      <vt:lpstr>Graph styl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inda Lier</dc:creator>
  <cp:lastModifiedBy>Linda Lier</cp:lastModifiedBy>
  <cp:revision>1</cp:revision>
  <dcterms:created xsi:type="dcterms:W3CDTF">2026-01-22T22:41:20Z</dcterms:created>
  <dcterms:modified xsi:type="dcterms:W3CDTF">2026-01-22T23:50:49Z</dcterms:modified>
</cp:coreProperties>
</file>